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</p:sldMasterIdLst>
  <p:notesMasterIdLst>
    <p:notesMasterId r:id="rId28"/>
  </p:notesMasterIdLst>
  <p:sldIdLst>
    <p:sldId id="8581" r:id="rId6"/>
    <p:sldId id="2146849874" r:id="rId7"/>
    <p:sldId id="2146849875" r:id="rId8"/>
    <p:sldId id="2146849876" r:id="rId9"/>
    <p:sldId id="2146849878" r:id="rId10"/>
    <p:sldId id="2146849879" r:id="rId11"/>
    <p:sldId id="2146849892" r:id="rId12"/>
    <p:sldId id="2146849880" r:id="rId13"/>
    <p:sldId id="2146849893" r:id="rId14"/>
    <p:sldId id="2146849894" r:id="rId15"/>
    <p:sldId id="2146849882" r:id="rId16"/>
    <p:sldId id="2146849885" r:id="rId17"/>
    <p:sldId id="2146849883" r:id="rId18"/>
    <p:sldId id="2146849887" r:id="rId19"/>
    <p:sldId id="2146849889" r:id="rId20"/>
    <p:sldId id="2146849890" r:id="rId21"/>
    <p:sldId id="2146849884" r:id="rId22"/>
    <p:sldId id="2146849886" r:id="rId23"/>
    <p:sldId id="2146849891" r:id="rId24"/>
    <p:sldId id="2146849895" r:id="rId25"/>
    <p:sldId id="2146849871" r:id="rId26"/>
    <p:sldId id="2146849872" r:id="rId27"/>
  </p:sldIdLst>
  <p:sldSz cx="12192000" cy="6858000"/>
  <p:notesSz cx="6797675" cy="9928225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F7FD56-5E71-3600-339D-6CE2EF45DEA3}" name="Corinne Pergrale-Mejean" initials="CP" userId="S::fr159426@mmm.com::748b2318-b8b3-4e24-906d-7251ab8fb9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D5D5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322" autoAdjust="0"/>
    <p:restoredTop sz="91474" autoAdjust="0"/>
  </p:normalViewPr>
  <p:slideViewPr>
    <p:cSldViewPr snapToGrid="0">
      <p:cViewPr varScale="1">
        <p:scale>
          <a:sx n="74" d="100"/>
          <a:sy n="74" d="100"/>
        </p:scale>
        <p:origin x="1440" y="77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44465-1D5A-4A02-B3E9-3762097D1D56}" type="datetimeFigureOut">
              <a:rPr lang="en-US" smtClean="0"/>
              <a:t>4/2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9AE3EF-BC83-4688-B8A6-5CBA1345BD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283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905099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9AE3EF-BC83-4688-B8A6-5CBA1345BDF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5700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745B09-AD31-409C-B2BB-E7C534396A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359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457200" marR="0" indent="-274638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739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3453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_6 REVERSED line/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0">
            <a:extLst>
              <a:ext uri="{FF2B5EF4-FFF2-40B4-BE49-F238E27FC236}">
                <a16:creationId xmlns:a16="http://schemas.microsoft.com/office/drawing/2014/main" id="{1FC60803-A668-4723-BAE1-4794B68962F1}"/>
              </a:ext>
            </a:extLst>
          </p:cNvPr>
          <p:cNvSpPr/>
          <p:nvPr/>
        </p:nvSpPr>
        <p:spPr>
          <a:xfrm flipH="1">
            <a:off x="3340102" y="1711"/>
            <a:ext cx="8864598" cy="6840220"/>
          </a:xfrm>
          <a:custGeom>
            <a:avLst/>
            <a:gdLst>
              <a:gd name="connsiteX0" fmla="*/ 4217158 w 7942997"/>
              <a:gd name="connsiteY0" fmla="*/ 0 h 6905768"/>
              <a:gd name="connsiteX1" fmla="*/ 0 w 7942997"/>
              <a:gd name="connsiteY1" fmla="*/ 4421875 h 6905768"/>
              <a:gd name="connsiteX2" fmla="*/ 7942997 w 7942997"/>
              <a:gd name="connsiteY2" fmla="*/ 6905768 h 6905768"/>
              <a:gd name="connsiteX3" fmla="*/ 4217158 w 7942997"/>
              <a:gd name="connsiteY3" fmla="*/ 0 h 6905768"/>
              <a:gd name="connsiteX0" fmla="*/ 4217158 w 8106770"/>
              <a:gd name="connsiteY0" fmla="*/ 0 h 6659133"/>
              <a:gd name="connsiteX1" fmla="*/ 0 w 8106770"/>
              <a:gd name="connsiteY1" fmla="*/ 4421875 h 6659133"/>
              <a:gd name="connsiteX2" fmla="*/ 8106770 w 8106770"/>
              <a:gd name="connsiteY2" fmla="*/ 6659133 h 6659133"/>
              <a:gd name="connsiteX3" fmla="*/ 4217158 w 8106770"/>
              <a:gd name="connsiteY3" fmla="*/ 0 h 6659133"/>
              <a:gd name="connsiteX0" fmla="*/ 4217158 w 7956645"/>
              <a:gd name="connsiteY0" fmla="*/ 0 h 6892066"/>
              <a:gd name="connsiteX1" fmla="*/ 0 w 7956645"/>
              <a:gd name="connsiteY1" fmla="*/ 4421875 h 6892066"/>
              <a:gd name="connsiteX2" fmla="*/ 7956645 w 7956645"/>
              <a:gd name="connsiteY2" fmla="*/ 6892066 h 6892066"/>
              <a:gd name="connsiteX3" fmla="*/ 4217158 w 7956645"/>
              <a:gd name="connsiteY3" fmla="*/ 0 h 6892066"/>
              <a:gd name="connsiteX0" fmla="*/ 4217158 w 8290020"/>
              <a:gd name="connsiteY0" fmla="*/ 0 h 6174856"/>
              <a:gd name="connsiteX1" fmla="*/ 0 w 8290020"/>
              <a:gd name="connsiteY1" fmla="*/ 4421875 h 6174856"/>
              <a:gd name="connsiteX2" fmla="*/ 8290020 w 8290020"/>
              <a:gd name="connsiteY2" fmla="*/ 6174856 h 6174856"/>
              <a:gd name="connsiteX3" fmla="*/ 4217158 w 8290020"/>
              <a:gd name="connsiteY3" fmla="*/ 0 h 6174856"/>
              <a:gd name="connsiteX0" fmla="*/ 4217158 w 7975695"/>
              <a:gd name="connsiteY0" fmla="*/ 0 h 6901629"/>
              <a:gd name="connsiteX1" fmla="*/ 0 w 7975695"/>
              <a:gd name="connsiteY1" fmla="*/ 4421875 h 6901629"/>
              <a:gd name="connsiteX2" fmla="*/ 7975695 w 7975695"/>
              <a:gd name="connsiteY2" fmla="*/ 6901629 h 6901629"/>
              <a:gd name="connsiteX3" fmla="*/ 4217158 w 7975695"/>
              <a:gd name="connsiteY3" fmla="*/ 0 h 6901629"/>
              <a:gd name="connsiteX0" fmla="*/ 4217158 w 8120074"/>
              <a:gd name="connsiteY0" fmla="*/ 0 h 6933917"/>
              <a:gd name="connsiteX1" fmla="*/ 0 w 8120074"/>
              <a:gd name="connsiteY1" fmla="*/ 4421875 h 6933917"/>
              <a:gd name="connsiteX2" fmla="*/ 8120074 w 8120074"/>
              <a:gd name="connsiteY2" fmla="*/ 6933917 h 6933917"/>
              <a:gd name="connsiteX3" fmla="*/ 4217158 w 8120074"/>
              <a:gd name="connsiteY3" fmla="*/ 0 h 6933917"/>
              <a:gd name="connsiteX0" fmla="*/ 4034278 w 8120074"/>
              <a:gd name="connsiteY0" fmla="*/ 0 h 6933917"/>
              <a:gd name="connsiteX1" fmla="*/ 0 w 8120074"/>
              <a:gd name="connsiteY1" fmla="*/ 4421875 h 6933917"/>
              <a:gd name="connsiteX2" fmla="*/ 8120074 w 8120074"/>
              <a:gd name="connsiteY2" fmla="*/ 6933917 h 6933917"/>
              <a:gd name="connsiteX3" fmla="*/ 4034278 w 8120074"/>
              <a:gd name="connsiteY3" fmla="*/ 0 h 6933917"/>
              <a:gd name="connsiteX0" fmla="*/ 4034278 w 8120074"/>
              <a:gd name="connsiteY0" fmla="*/ 0 h 6933917"/>
              <a:gd name="connsiteX1" fmla="*/ 0 w 8120074"/>
              <a:gd name="connsiteY1" fmla="*/ 2636098 h 6933917"/>
              <a:gd name="connsiteX2" fmla="*/ 8120074 w 8120074"/>
              <a:gd name="connsiteY2" fmla="*/ 6933917 h 6933917"/>
              <a:gd name="connsiteX3" fmla="*/ 4034278 w 8120074"/>
              <a:gd name="connsiteY3" fmla="*/ 0 h 6933917"/>
              <a:gd name="connsiteX0" fmla="*/ 4045019 w 8130815"/>
              <a:gd name="connsiteY0" fmla="*/ 0 h 6933917"/>
              <a:gd name="connsiteX1" fmla="*/ 0 w 8130815"/>
              <a:gd name="connsiteY1" fmla="*/ 3860631 h 6933917"/>
              <a:gd name="connsiteX2" fmla="*/ 8130815 w 8130815"/>
              <a:gd name="connsiteY2" fmla="*/ 6933917 h 6933917"/>
              <a:gd name="connsiteX3" fmla="*/ 4045019 w 8130815"/>
              <a:gd name="connsiteY3" fmla="*/ 0 h 6933917"/>
              <a:gd name="connsiteX0" fmla="*/ 4045019 w 7497105"/>
              <a:gd name="connsiteY0" fmla="*/ 0 h 6870139"/>
              <a:gd name="connsiteX1" fmla="*/ 0 w 7497105"/>
              <a:gd name="connsiteY1" fmla="*/ 3860631 h 6870139"/>
              <a:gd name="connsiteX2" fmla="*/ 7497105 w 7497105"/>
              <a:gd name="connsiteY2" fmla="*/ 6870139 h 6870139"/>
              <a:gd name="connsiteX3" fmla="*/ 4045019 w 7497105"/>
              <a:gd name="connsiteY3" fmla="*/ 0 h 6870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97105" h="6870139">
                <a:moveTo>
                  <a:pt x="4045019" y="0"/>
                </a:moveTo>
                <a:lnTo>
                  <a:pt x="0" y="3860631"/>
                </a:lnTo>
                <a:lnTo>
                  <a:pt x="7497105" y="6870139"/>
                </a:lnTo>
                <a:lnTo>
                  <a:pt x="404501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999" b="0" i="0" u="none" strike="noStrike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B7B62B-0732-4BEA-A6C8-5CF96588F2B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008860" y="4718255"/>
            <a:ext cx="2174466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6EFEABC-2CFA-4C25-B8BD-7E336D04AC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08860" y="1787684"/>
            <a:ext cx="4937032" cy="1625060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algn="l">
              <a:lnSpc>
                <a:spcPct val="80000"/>
              </a:lnSpc>
              <a:defRPr sz="66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itle goes here</a:t>
            </a:r>
            <a:endParaRPr lang="en-GB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C6D76C6-F4DF-4735-871D-5BA1FB37B4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08860" y="3667613"/>
            <a:ext cx="4917465" cy="9581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tle subhead/presenters names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036" y="384048"/>
            <a:ext cx="2424041" cy="430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9995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 dirty="0">
                  <a:solidFill>
                    <a:srgbClr val="FFFFFF"/>
                  </a:solidFill>
                </a:rPr>
                <a:t>s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79413" y="1333500"/>
            <a:ext cx="9521825" cy="4127499"/>
          </a:xfrm>
          <a:noFill/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137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 dirty="0">
                <a:solidFill>
                  <a:srgbClr val="FFFFFF"/>
                </a:solidFill>
              </a:rPr>
              <a:t>s</a:t>
            </a:r>
          </a:p>
        </p:txBody>
      </p:sp>
      <p:sp>
        <p:nvSpPr>
          <p:cNvPr id="17" name="Freeform 16"/>
          <p:cNvSpPr/>
          <p:nvPr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7" name="Freeform 36"/>
          <p:cNvSpPr/>
          <p:nvPr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38" name="Freeform 37"/>
          <p:cNvSpPr/>
          <p:nvPr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divider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87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39E3FFE-217B-49A6-86E8-7E9F9B7610F2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D2485E65-BDBF-494A-8847-8908887BED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691A6D2-DA53-4227-B40D-F779479B11FD}"/>
              </a:ext>
            </a:extLst>
          </p:cNvPr>
          <p:cNvGrpSpPr/>
          <p:nvPr userDrawn="1"/>
        </p:nvGrpSpPr>
        <p:grpSpPr>
          <a:xfrm>
            <a:off x="305991" y="6569823"/>
            <a:ext cx="1566432" cy="137868"/>
            <a:chOff x="305991" y="6595827"/>
            <a:chExt cx="1566432" cy="137868"/>
          </a:xfrm>
        </p:grpSpPr>
        <p:sp>
          <p:nvSpPr>
            <p:cNvPr id="9" name="Footer Placeholder 3">
              <a:extLst>
                <a:ext uri="{FF2B5EF4-FFF2-40B4-BE49-F238E27FC236}">
                  <a16:creationId xmlns:a16="http://schemas.microsoft.com/office/drawing/2014/main" id="{06A12CDE-A5C8-4AB8-A340-617C75C2004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10" name="TextBox 25">
              <a:extLst>
                <a:ext uri="{FF2B5EF4-FFF2-40B4-BE49-F238E27FC236}">
                  <a16:creationId xmlns:a16="http://schemas.microsoft.com/office/drawing/2014/main" id="{FC01E7A2-4388-4932-997D-2EE6FDD074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2</a:t>
              </a:r>
            </a:p>
          </p:txBody>
        </p:sp>
        <p:sp>
          <p:nvSpPr>
            <p:cNvPr id="11" name="Rectangle 26">
              <a:extLst>
                <a:ext uri="{FF2B5EF4-FFF2-40B4-BE49-F238E27FC236}">
                  <a16:creationId xmlns:a16="http://schemas.microsoft.com/office/drawing/2014/main" id="{626847D3-351F-4DF7-B605-DB21CD18B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14" name="TextBox 24">
              <a:extLst>
                <a:ext uri="{FF2B5EF4-FFF2-40B4-BE49-F238E27FC236}">
                  <a16:creationId xmlns:a16="http://schemas.microsoft.com/office/drawing/2014/main" id="{8A3ED80A-D0A0-4513-8AB6-54D412B001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40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14325" marR="0" indent="-1317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73075" marR="0" indent="-115888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/>
            </a:lvl4pPr>
            <a:lvl5pPr marL="642938" marR="0" indent="-103188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87DB69-820F-41BD-AED8-27F06F0EF12A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F6A4115B-255F-4168-995A-C88FF2AE586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59A527-F86A-4236-AEDF-8AEDDB2E5AB1}"/>
              </a:ext>
            </a:extLst>
          </p:cNvPr>
          <p:cNvGrpSpPr/>
          <p:nvPr userDrawn="1"/>
        </p:nvGrpSpPr>
        <p:grpSpPr>
          <a:xfrm>
            <a:off x="305991" y="6569823"/>
            <a:ext cx="1566432" cy="137868"/>
            <a:chOff x="305991" y="6595827"/>
            <a:chExt cx="1566432" cy="137868"/>
          </a:xfrm>
        </p:grpSpPr>
        <p:sp>
          <p:nvSpPr>
            <p:cNvPr id="19" name="Footer Placeholder 3">
              <a:extLst>
                <a:ext uri="{FF2B5EF4-FFF2-40B4-BE49-F238E27FC236}">
                  <a16:creationId xmlns:a16="http://schemas.microsoft.com/office/drawing/2014/main" id="{B4924AEC-C2A8-4614-B9A0-B42D82A609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20" name="TextBox 25">
              <a:extLst>
                <a:ext uri="{FF2B5EF4-FFF2-40B4-BE49-F238E27FC236}">
                  <a16:creationId xmlns:a16="http://schemas.microsoft.com/office/drawing/2014/main" id="{9BE342F3-E3FE-416B-BDB5-C5291FA504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2</a:t>
              </a:r>
            </a:p>
          </p:txBody>
        </p:sp>
        <p:sp>
          <p:nvSpPr>
            <p:cNvPr id="21" name="Rectangle 26">
              <a:extLst>
                <a:ext uri="{FF2B5EF4-FFF2-40B4-BE49-F238E27FC236}">
                  <a16:creationId xmlns:a16="http://schemas.microsoft.com/office/drawing/2014/main" id="{54173DD2-0B5D-4B8E-9F7D-C470AB8EA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22" name="TextBox 24">
              <a:extLst>
                <a:ext uri="{FF2B5EF4-FFF2-40B4-BE49-F238E27FC236}">
                  <a16:creationId xmlns:a16="http://schemas.microsoft.com/office/drawing/2014/main" id="{01875E5C-FF16-4781-AE88-3EED24A1A0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571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B4480938-3206-419E-A8EA-E2EA8D0A4162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899F1064-18BF-490B-A707-02D56B21C3B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CF306E8-CA07-4328-858F-8D18E5FBE024}"/>
              </a:ext>
            </a:extLst>
          </p:cNvPr>
          <p:cNvGrpSpPr/>
          <p:nvPr userDrawn="1"/>
        </p:nvGrpSpPr>
        <p:grpSpPr>
          <a:xfrm>
            <a:off x="305991" y="6569823"/>
            <a:ext cx="1566432" cy="137868"/>
            <a:chOff x="305991" y="6595827"/>
            <a:chExt cx="1566432" cy="137868"/>
          </a:xfrm>
        </p:grpSpPr>
        <p:sp>
          <p:nvSpPr>
            <p:cNvPr id="16" name="Footer Placeholder 3">
              <a:extLst>
                <a:ext uri="{FF2B5EF4-FFF2-40B4-BE49-F238E27FC236}">
                  <a16:creationId xmlns:a16="http://schemas.microsoft.com/office/drawing/2014/main" id="{C34D34FB-1666-44E5-82B2-9128F51DB89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2. All Rights Reserved.</a:t>
              </a:r>
            </a:p>
          </p:txBody>
        </p:sp>
        <p:sp>
          <p:nvSpPr>
            <p:cNvPr id="17" name="TextBox 25">
              <a:extLst>
                <a:ext uri="{FF2B5EF4-FFF2-40B4-BE49-F238E27FC236}">
                  <a16:creationId xmlns:a16="http://schemas.microsoft.com/office/drawing/2014/main" id="{F9EB169C-3E13-4B5F-8B98-4F3CA29628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2</a:t>
              </a:r>
            </a:p>
          </p:txBody>
        </p:sp>
        <p:sp>
          <p:nvSpPr>
            <p:cNvPr id="18" name="Rectangle 26">
              <a:extLst>
                <a:ext uri="{FF2B5EF4-FFF2-40B4-BE49-F238E27FC236}">
                  <a16:creationId xmlns:a16="http://schemas.microsoft.com/office/drawing/2014/main" id="{0D359C7D-B25D-451C-87FC-9E3D0487B9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19" name="TextBox 24">
              <a:extLst>
                <a:ext uri="{FF2B5EF4-FFF2-40B4-BE49-F238E27FC236}">
                  <a16:creationId xmlns:a16="http://schemas.microsoft.com/office/drawing/2014/main" id="{7DCFEB1F-EE6C-411C-98A3-461C414EEE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465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_Color_Block_Mesh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4349EE-095D-4F41-A12A-9F3D57FC2C79}"/>
              </a:ext>
            </a:extLst>
          </p:cNvPr>
          <p:cNvSpPr/>
          <p:nvPr userDrawn="1"/>
        </p:nvSpPr>
        <p:spPr>
          <a:xfrm>
            <a:off x="8132064" y="0"/>
            <a:ext cx="4059936" cy="6871523"/>
          </a:xfrm>
          <a:prstGeom prst="rect">
            <a:avLst/>
          </a:prstGeom>
          <a:gradFill>
            <a:gsLst>
              <a:gs pos="0">
                <a:schemeClr val="accent2"/>
              </a:gs>
              <a:gs pos="9900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AEB768E-18A3-0749-B9F7-5F9A347DA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2064" y="13523"/>
            <a:ext cx="4059936" cy="6858000"/>
          </a:xfrm>
          <a:prstGeom prst="rect">
            <a:avLst/>
          </a:prstGeom>
        </p:spPr>
      </p:pic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FB9BB99E-0EE0-DA49-8096-DEC2AA0FC1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14506" y="1649072"/>
            <a:ext cx="3295052" cy="2995994"/>
          </a:xfr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3M Circular TT Book" panose="020B0604020101020102" pitchFamily="34" charset="77"/>
                <a:cs typeface="3M Circular TT Book" panose="020B0604020101020102" pitchFamily="34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3CA6A73-5884-C241-9B9D-891E265D6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413" y="381000"/>
            <a:ext cx="7491842" cy="82296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0246F82-4DFB-0B4E-8300-43707EA96E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13" y="1557338"/>
            <a:ext cx="7145337" cy="469106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z="2000" dirty="0"/>
              <a:t>Lorem ipsum dolor sit </a:t>
            </a:r>
            <a:r>
              <a:rPr lang="en-US" sz="2000" dirty="0" err="1"/>
              <a:t>amet</a:t>
            </a:r>
            <a:r>
              <a:rPr lang="en-US" sz="2000" dirty="0"/>
              <a:t>, </a:t>
            </a:r>
            <a:r>
              <a:rPr lang="en-US" sz="2000" dirty="0" err="1"/>
              <a:t>consectetur</a:t>
            </a:r>
            <a:r>
              <a:rPr lang="en-US" sz="2000" dirty="0"/>
              <a:t> </a:t>
            </a:r>
            <a:r>
              <a:rPr lang="en-US" sz="2000" dirty="0" err="1"/>
              <a:t>adipiscing</a:t>
            </a:r>
            <a:r>
              <a:rPr lang="en-US" sz="2000" dirty="0"/>
              <a:t> </a:t>
            </a:r>
            <a:r>
              <a:rPr lang="en-US" sz="2000" dirty="0" err="1"/>
              <a:t>elit</a:t>
            </a:r>
            <a:r>
              <a:rPr lang="en-US" sz="2000" dirty="0"/>
              <a:t>, sed do </a:t>
            </a:r>
            <a:r>
              <a:rPr lang="en-US" sz="2000" dirty="0" err="1"/>
              <a:t>eiusmod</a:t>
            </a:r>
            <a:r>
              <a:rPr lang="en-US" sz="2000" dirty="0"/>
              <a:t> </a:t>
            </a:r>
            <a:r>
              <a:rPr lang="en-US" sz="2000" dirty="0" err="1"/>
              <a:t>tempor</a:t>
            </a:r>
            <a:r>
              <a:rPr lang="en-US" sz="2000" dirty="0"/>
              <a:t> </a:t>
            </a:r>
            <a:r>
              <a:rPr lang="en-US" sz="2000" dirty="0" err="1"/>
              <a:t>incididunt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labore</a:t>
            </a:r>
            <a:r>
              <a:rPr lang="en-US" sz="2000" dirty="0"/>
              <a:t> et dolore magna </a:t>
            </a:r>
            <a:r>
              <a:rPr lang="en-US" sz="2000" dirty="0" err="1"/>
              <a:t>aliqua</a:t>
            </a:r>
            <a:r>
              <a:rPr lang="en-US" sz="2000" dirty="0"/>
              <a:t>. </a:t>
            </a:r>
            <a:r>
              <a:rPr lang="en-US" sz="2000" dirty="0" err="1"/>
              <a:t>Tincidunt</a:t>
            </a:r>
            <a:r>
              <a:rPr lang="en-US" sz="2000" dirty="0"/>
              <a:t> </a:t>
            </a:r>
            <a:r>
              <a:rPr lang="en-US" sz="2000" dirty="0" err="1"/>
              <a:t>nunc</a:t>
            </a:r>
            <a:r>
              <a:rPr lang="en-US" sz="2000" dirty="0"/>
              <a:t> pulvinar </a:t>
            </a:r>
            <a:r>
              <a:rPr lang="en-US" sz="2000" dirty="0" err="1"/>
              <a:t>sapien</a:t>
            </a:r>
            <a:r>
              <a:rPr lang="en-US" sz="2000" dirty="0"/>
              <a:t> et ligula </a:t>
            </a:r>
            <a:r>
              <a:rPr lang="en-US" sz="2000" dirty="0" err="1"/>
              <a:t>ullamcorper</a:t>
            </a:r>
            <a:r>
              <a:rPr lang="en-US" sz="2000" dirty="0"/>
              <a:t>. </a:t>
            </a:r>
            <a:r>
              <a:rPr lang="en-US" sz="2000" dirty="0" err="1"/>
              <a:t>Nec</a:t>
            </a:r>
            <a:r>
              <a:rPr lang="en-US" sz="2000" dirty="0"/>
              <a:t> </a:t>
            </a:r>
            <a:r>
              <a:rPr lang="en-US" sz="2000" dirty="0" err="1"/>
              <a:t>feugiat</a:t>
            </a:r>
            <a:r>
              <a:rPr lang="en-US" sz="2000" dirty="0"/>
              <a:t> </a:t>
            </a:r>
            <a:r>
              <a:rPr lang="en-US" sz="2000" dirty="0" err="1"/>
              <a:t>nisl</a:t>
            </a:r>
            <a:r>
              <a:rPr lang="en-US" sz="2000" dirty="0"/>
              <a:t> </a:t>
            </a:r>
            <a:r>
              <a:rPr lang="en-US" sz="2000" dirty="0" err="1"/>
              <a:t>pretium</a:t>
            </a:r>
            <a:r>
              <a:rPr lang="en-US" sz="2000" dirty="0"/>
              <a:t> </a:t>
            </a:r>
            <a:r>
              <a:rPr lang="en-US" sz="2000" dirty="0" err="1"/>
              <a:t>fusce</a:t>
            </a:r>
            <a:r>
              <a:rPr lang="en-US" sz="2000" dirty="0"/>
              <a:t> id </a:t>
            </a:r>
            <a:r>
              <a:rPr lang="en-US" sz="2000" dirty="0" err="1"/>
              <a:t>velit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tortor</a:t>
            </a:r>
            <a:r>
              <a:rPr lang="en-US" sz="2000" dirty="0"/>
              <a:t>. Ipsum </a:t>
            </a:r>
            <a:r>
              <a:rPr lang="en-US" sz="2000" dirty="0" err="1"/>
              <a:t>suspendisse</a:t>
            </a:r>
            <a:r>
              <a:rPr lang="en-US" sz="2000" dirty="0"/>
              <a:t> </a:t>
            </a:r>
            <a:r>
              <a:rPr lang="en-US" sz="2000" dirty="0" err="1"/>
              <a:t>ultrices</a:t>
            </a:r>
            <a:r>
              <a:rPr lang="en-US" sz="2000" dirty="0"/>
              <a:t> gravida dictum </a:t>
            </a:r>
            <a:r>
              <a:rPr lang="en-US" sz="2000" dirty="0" err="1"/>
              <a:t>fusce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placerat</a:t>
            </a:r>
            <a:r>
              <a:rPr lang="en-US" sz="2000" dirty="0"/>
              <a:t> </a:t>
            </a:r>
            <a:r>
              <a:rPr lang="en-US" sz="2000" dirty="0" err="1"/>
              <a:t>orci</a:t>
            </a:r>
            <a:r>
              <a:rPr lang="en-US" sz="2000" dirty="0"/>
              <a:t>. Pharetra sit </a:t>
            </a:r>
            <a:r>
              <a:rPr lang="en-US" sz="2000" dirty="0" err="1"/>
              <a:t>amet</a:t>
            </a:r>
            <a:r>
              <a:rPr lang="en-US" sz="2000" dirty="0"/>
              <a:t> </a:t>
            </a:r>
            <a:r>
              <a:rPr lang="en-US" sz="2000" dirty="0" err="1"/>
              <a:t>aliquam</a:t>
            </a:r>
            <a:r>
              <a:rPr lang="en-US" sz="2000" dirty="0"/>
              <a:t> id diam </a:t>
            </a:r>
            <a:r>
              <a:rPr lang="en-US" sz="2000" dirty="0" err="1"/>
              <a:t>maecenas</a:t>
            </a:r>
            <a:r>
              <a:rPr lang="en-US" sz="2000" dirty="0"/>
              <a:t> </a:t>
            </a:r>
            <a:r>
              <a:rPr lang="en-US" sz="2000" dirty="0" err="1"/>
              <a:t>ultricies</a:t>
            </a:r>
            <a:r>
              <a:rPr lang="en-US" sz="2000" dirty="0"/>
              <a:t> mi </a:t>
            </a:r>
            <a:r>
              <a:rPr lang="en-US" sz="2000" dirty="0" err="1"/>
              <a:t>eget</a:t>
            </a:r>
            <a:r>
              <a:rPr lang="en-US" sz="2000" dirty="0"/>
              <a:t>. Vitae </a:t>
            </a:r>
            <a:r>
              <a:rPr lang="en-US" sz="2000" dirty="0" err="1"/>
              <a:t>proin</a:t>
            </a:r>
            <a:r>
              <a:rPr lang="en-US" sz="2000" dirty="0"/>
              <a:t> </a:t>
            </a:r>
            <a:r>
              <a:rPr lang="en-US" sz="2000" dirty="0" err="1"/>
              <a:t>sagittis</a:t>
            </a:r>
            <a:r>
              <a:rPr lang="en-US" sz="2000" dirty="0"/>
              <a:t> </a:t>
            </a:r>
            <a:r>
              <a:rPr lang="en-US" sz="2000" dirty="0" err="1"/>
              <a:t>nisl</a:t>
            </a:r>
            <a:r>
              <a:rPr lang="en-US" sz="2000" dirty="0"/>
              <a:t> </a:t>
            </a:r>
            <a:r>
              <a:rPr lang="en-US" sz="2000" dirty="0" err="1"/>
              <a:t>rhoncus</a:t>
            </a:r>
            <a:r>
              <a:rPr lang="en-US" sz="2000" dirty="0"/>
              <a:t> </a:t>
            </a:r>
            <a:r>
              <a:rPr lang="en-US" sz="2000" dirty="0" err="1"/>
              <a:t>mattis</a:t>
            </a:r>
            <a:r>
              <a:rPr lang="en-US" sz="2000" dirty="0"/>
              <a:t> </a:t>
            </a:r>
            <a:r>
              <a:rPr lang="en-US" sz="2000" dirty="0" err="1"/>
              <a:t>rhoncus</a:t>
            </a:r>
            <a:r>
              <a:rPr lang="en-US" sz="2000" dirty="0"/>
              <a:t> </a:t>
            </a:r>
            <a:r>
              <a:rPr lang="en-US" sz="2000" dirty="0" err="1"/>
              <a:t>urna</a:t>
            </a:r>
            <a:r>
              <a:rPr lang="en-US" sz="2000" dirty="0"/>
              <a:t> </a:t>
            </a:r>
            <a:r>
              <a:rPr lang="en-US" sz="2000" dirty="0" err="1"/>
              <a:t>neque</a:t>
            </a:r>
            <a:r>
              <a:rPr lang="en-US" sz="2000" dirty="0"/>
              <a:t>. Mi </a:t>
            </a:r>
            <a:r>
              <a:rPr lang="en-US" sz="2000" dirty="0" err="1"/>
              <a:t>eget</a:t>
            </a:r>
            <a:r>
              <a:rPr lang="en-US" sz="2000" dirty="0"/>
              <a:t> </a:t>
            </a:r>
            <a:r>
              <a:rPr lang="en-US" sz="2000" dirty="0" err="1"/>
              <a:t>mauris</a:t>
            </a:r>
            <a:r>
              <a:rPr lang="en-US" sz="2000" dirty="0"/>
              <a:t> pharetra et. Ut </a:t>
            </a:r>
            <a:r>
              <a:rPr lang="en-US" sz="2000" dirty="0" err="1"/>
              <a:t>faucibus</a:t>
            </a:r>
            <a:r>
              <a:rPr lang="en-US" sz="2000" dirty="0"/>
              <a:t> pulvinar </a:t>
            </a:r>
            <a:r>
              <a:rPr lang="en-US" sz="2000" dirty="0" err="1"/>
              <a:t>elementum</a:t>
            </a:r>
            <a:r>
              <a:rPr lang="en-US" sz="2000" dirty="0"/>
              <a:t> integer </a:t>
            </a:r>
            <a:r>
              <a:rPr lang="en-US" sz="2000" dirty="0" err="1"/>
              <a:t>enim</a:t>
            </a:r>
            <a:r>
              <a:rPr lang="en-US" sz="2000" dirty="0"/>
              <a:t> </a:t>
            </a:r>
            <a:r>
              <a:rPr lang="en-US" sz="2000" dirty="0" err="1"/>
              <a:t>neque</a:t>
            </a:r>
            <a:r>
              <a:rPr lang="en-US" sz="2000" dirty="0"/>
              <a:t>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EA4F4F-2B32-4709-9AA6-BCA874F6E435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835ADEF9-B077-41BF-8CF0-A8967F7CC3C2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20A7627-94C1-4BF8-9339-8B5A9EB53CF4}"/>
              </a:ext>
            </a:extLst>
          </p:cNvPr>
          <p:cNvGrpSpPr/>
          <p:nvPr userDrawn="1"/>
        </p:nvGrpSpPr>
        <p:grpSpPr>
          <a:xfrm>
            <a:off x="305991" y="6569823"/>
            <a:ext cx="1566432" cy="137868"/>
            <a:chOff x="305991" y="6595827"/>
            <a:chExt cx="1566432" cy="137868"/>
          </a:xfrm>
        </p:grpSpPr>
        <p:sp>
          <p:nvSpPr>
            <p:cNvPr id="17" name="Footer Placeholder 3">
              <a:extLst>
                <a:ext uri="{FF2B5EF4-FFF2-40B4-BE49-F238E27FC236}">
                  <a16:creationId xmlns:a16="http://schemas.microsoft.com/office/drawing/2014/main" id="{F91CB609-90E8-4B6B-874D-985B1C4704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18" name="TextBox 25">
              <a:extLst>
                <a:ext uri="{FF2B5EF4-FFF2-40B4-BE49-F238E27FC236}">
                  <a16:creationId xmlns:a16="http://schemas.microsoft.com/office/drawing/2014/main" id="{C7237D69-AEE4-4E7B-8E5B-D57CCBA7AF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2</a:t>
              </a:r>
            </a:p>
          </p:txBody>
        </p:sp>
        <p:sp>
          <p:nvSpPr>
            <p:cNvPr id="19" name="Rectangle 26">
              <a:extLst>
                <a:ext uri="{FF2B5EF4-FFF2-40B4-BE49-F238E27FC236}">
                  <a16:creationId xmlns:a16="http://schemas.microsoft.com/office/drawing/2014/main" id="{2E403E67-4760-4DA8-A3DC-98C57B7189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20" name="TextBox 24">
              <a:extLst>
                <a:ext uri="{FF2B5EF4-FFF2-40B4-BE49-F238E27FC236}">
                  <a16:creationId xmlns:a16="http://schemas.microsoft.com/office/drawing/2014/main" id="{D722241A-9398-4DC5-A18F-DBE7A20607D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06085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_Color_Bloc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4349EE-095D-4F41-A12A-9F3D57FC2C79}"/>
              </a:ext>
            </a:extLst>
          </p:cNvPr>
          <p:cNvSpPr/>
          <p:nvPr userDrawn="1"/>
        </p:nvSpPr>
        <p:spPr>
          <a:xfrm>
            <a:off x="8132064" y="0"/>
            <a:ext cx="4059936" cy="6871523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FB9BB99E-0EE0-DA49-8096-DEC2AA0FC1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514506" y="1649072"/>
            <a:ext cx="3295052" cy="2995994"/>
          </a:xfr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3M Circular TT Book" panose="020B0604020101020102" pitchFamily="34" charset="77"/>
                <a:cs typeface="3M Circular TT Book" panose="020B0604020101020102" pitchFamily="34" charset="77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dolore magna </a:t>
            </a:r>
            <a:r>
              <a:rPr lang="en-US" dirty="0" err="1"/>
              <a:t>aliqua</a:t>
            </a:r>
            <a:r>
              <a:rPr lang="en-US" dirty="0"/>
              <a:t>. Ut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exercitation </a:t>
            </a:r>
            <a:r>
              <a:rPr lang="en-US" dirty="0" err="1"/>
              <a:t>ullamco</a:t>
            </a:r>
            <a:r>
              <a:rPr lang="en-US" dirty="0"/>
              <a:t> </a:t>
            </a:r>
            <a:r>
              <a:rPr lang="en-US" dirty="0" err="1"/>
              <a:t>laboris</a:t>
            </a:r>
            <a:r>
              <a:rPr lang="en-US" dirty="0"/>
              <a:t> nisi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</a:t>
            </a:r>
            <a:r>
              <a:rPr lang="en-US" dirty="0"/>
              <a:t> </a:t>
            </a:r>
            <a:r>
              <a:rPr lang="en-US" dirty="0" err="1"/>
              <a:t>irure</a:t>
            </a:r>
            <a:r>
              <a:rPr lang="en-US" dirty="0"/>
              <a:t> dolor in </a:t>
            </a:r>
            <a:r>
              <a:rPr lang="en-US" dirty="0" err="1"/>
              <a:t>reprehenderit</a:t>
            </a:r>
            <a:r>
              <a:rPr lang="en-US" dirty="0"/>
              <a:t> in </a:t>
            </a:r>
            <a:r>
              <a:rPr lang="en-US" dirty="0" err="1"/>
              <a:t>volup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c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pariatur</a:t>
            </a:r>
            <a:r>
              <a:rPr lang="en-US" dirty="0"/>
              <a:t>.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3CA6A73-5884-C241-9B9D-891E265D6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413" y="381000"/>
            <a:ext cx="7491842" cy="82296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0246F82-4DFB-0B4E-8300-43707EA96E1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13" y="1557338"/>
            <a:ext cx="7145337" cy="4691062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sz="2000" dirty="0"/>
              <a:t>Lorem ipsum dolor sit </a:t>
            </a:r>
            <a:r>
              <a:rPr lang="en-US" sz="2000" dirty="0" err="1"/>
              <a:t>amet</a:t>
            </a:r>
            <a:r>
              <a:rPr lang="en-US" sz="2000" dirty="0"/>
              <a:t>, </a:t>
            </a:r>
            <a:r>
              <a:rPr lang="en-US" sz="2000" dirty="0" err="1"/>
              <a:t>consectetur</a:t>
            </a:r>
            <a:r>
              <a:rPr lang="en-US" sz="2000" dirty="0"/>
              <a:t> </a:t>
            </a:r>
            <a:r>
              <a:rPr lang="en-US" sz="2000" dirty="0" err="1"/>
              <a:t>adipiscing</a:t>
            </a:r>
            <a:r>
              <a:rPr lang="en-US" sz="2000" dirty="0"/>
              <a:t> </a:t>
            </a:r>
            <a:r>
              <a:rPr lang="en-US" sz="2000" dirty="0" err="1"/>
              <a:t>elit</a:t>
            </a:r>
            <a:r>
              <a:rPr lang="en-US" sz="2000" dirty="0"/>
              <a:t>, sed do </a:t>
            </a:r>
            <a:r>
              <a:rPr lang="en-US" sz="2000" dirty="0" err="1"/>
              <a:t>eiusmod</a:t>
            </a:r>
            <a:r>
              <a:rPr lang="en-US" sz="2000" dirty="0"/>
              <a:t> </a:t>
            </a:r>
            <a:r>
              <a:rPr lang="en-US" sz="2000" dirty="0" err="1"/>
              <a:t>tempor</a:t>
            </a:r>
            <a:r>
              <a:rPr lang="en-US" sz="2000" dirty="0"/>
              <a:t> </a:t>
            </a:r>
            <a:r>
              <a:rPr lang="en-US" sz="2000" dirty="0" err="1"/>
              <a:t>incididunt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labore</a:t>
            </a:r>
            <a:r>
              <a:rPr lang="en-US" sz="2000" dirty="0"/>
              <a:t> et dolore magna </a:t>
            </a:r>
            <a:r>
              <a:rPr lang="en-US" sz="2000" dirty="0" err="1"/>
              <a:t>aliqua</a:t>
            </a:r>
            <a:r>
              <a:rPr lang="en-US" sz="2000" dirty="0"/>
              <a:t>. </a:t>
            </a:r>
            <a:r>
              <a:rPr lang="en-US" sz="2000" dirty="0" err="1"/>
              <a:t>Tincidunt</a:t>
            </a:r>
            <a:r>
              <a:rPr lang="en-US" sz="2000" dirty="0"/>
              <a:t> </a:t>
            </a:r>
            <a:r>
              <a:rPr lang="en-US" sz="2000" dirty="0" err="1"/>
              <a:t>nunc</a:t>
            </a:r>
            <a:r>
              <a:rPr lang="en-US" sz="2000" dirty="0"/>
              <a:t> pulvinar </a:t>
            </a:r>
            <a:r>
              <a:rPr lang="en-US" sz="2000" dirty="0" err="1"/>
              <a:t>sapien</a:t>
            </a:r>
            <a:r>
              <a:rPr lang="en-US" sz="2000" dirty="0"/>
              <a:t> et ligula </a:t>
            </a:r>
            <a:r>
              <a:rPr lang="en-US" sz="2000" dirty="0" err="1"/>
              <a:t>ullamcorper</a:t>
            </a:r>
            <a:r>
              <a:rPr lang="en-US" sz="2000" dirty="0"/>
              <a:t>. </a:t>
            </a:r>
            <a:r>
              <a:rPr lang="en-US" sz="2000" dirty="0" err="1"/>
              <a:t>Nec</a:t>
            </a:r>
            <a:r>
              <a:rPr lang="en-US" sz="2000" dirty="0"/>
              <a:t> </a:t>
            </a:r>
            <a:r>
              <a:rPr lang="en-US" sz="2000" dirty="0" err="1"/>
              <a:t>feugiat</a:t>
            </a:r>
            <a:r>
              <a:rPr lang="en-US" sz="2000" dirty="0"/>
              <a:t> </a:t>
            </a:r>
            <a:r>
              <a:rPr lang="en-US" sz="2000" dirty="0" err="1"/>
              <a:t>nisl</a:t>
            </a:r>
            <a:r>
              <a:rPr lang="en-US" sz="2000" dirty="0"/>
              <a:t> </a:t>
            </a:r>
            <a:r>
              <a:rPr lang="en-US" sz="2000" dirty="0" err="1"/>
              <a:t>pretium</a:t>
            </a:r>
            <a:r>
              <a:rPr lang="en-US" sz="2000" dirty="0"/>
              <a:t> </a:t>
            </a:r>
            <a:r>
              <a:rPr lang="en-US" sz="2000" dirty="0" err="1"/>
              <a:t>fusce</a:t>
            </a:r>
            <a:r>
              <a:rPr lang="en-US" sz="2000" dirty="0"/>
              <a:t> id </a:t>
            </a:r>
            <a:r>
              <a:rPr lang="en-US" sz="2000" dirty="0" err="1"/>
              <a:t>velit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tortor</a:t>
            </a:r>
            <a:r>
              <a:rPr lang="en-US" sz="2000" dirty="0"/>
              <a:t>. Ipsum </a:t>
            </a:r>
            <a:r>
              <a:rPr lang="en-US" sz="2000" dirty="0" err="1"/>
              <a:t>suspendisse</a:t>
            </a:r>
            <a:r>
              <a:rPr lang="en-US" sz="2000" dirty="0"/>
              <a:t> </a:t>
            </a:r>
            <a:r>
              <a:rPr lang="en-US" sz="2000" dirty="0" err="1"/>
              <a:t>ultrices</a:t>
            </a:r>
            <a:r>
              <a:rPr lang="en-US" sz="2000" dirty="0"/>
              <a:t> gravida dictum </a:t>
            </a:r>
            <a:r>
              <a:rPr lang="en-US" sz="2000" dirty="0" err="1"/>
              <a:t>fusce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placerat</a:t>
            </a:r>
            <a:r>
              <a:rPr lang="en-US" sz="2000" dirty="0"/>
              <a:t> </a:t>
            </a:r>
            <a:r>
              <a:rPr lang="en-US" sz="2000" dirty="0" err="1"/>
              <a:t>orci</a:t>
            </a:r>
            <a:r>
              <a:rPr lang="en-US" sz="2000" dirty="0"/>
              <a:t>. Pharetra sit </a:t>
            </a:r>
            <a:r>
              <a:rPr lang="en-US" sz="2000" dirty="0" err="1"/>
              <a:t>amet</a:t>
            </a:r>
            <a:r>
              <a:rPr lang="en-US" sz="2000" dirty="0"/>
              <a:t> </a:t>
            </a:r>
            <a:r>
              <a:rPr lang="en-US" sz="2000" dirty="0" err="1"/>
              <a:t>aliquam</a:t>
            </a:r>
            <a:r>
              <a:rPr lang="en-US" sz="2000" dirty="0"/>
              <a:t> id diam </a:t>
            </a:r>
            <a:r>
              <a:rPr lang="en-US" sz="2000" dirty="0" err="1"/>
              <a:t>maecenas</a:t>
            </a:r>
            <a:r>
              <a:rPr lang="en-US" sz="2000" dirty="0"/>
              <a:t> </a:t>
            </a:r>
            <a:r>
              <a:rPr lang="en-US" sz="2000" dirty="0" err="1"/>
              <a:t>ultricies</a:t>
            </a:r>
            <a:r>
              <a:rPr lang="en-US" sz="2000" dirty="0"/>
              <a:t> mi </a:t>
            </a:r>
            <a:r>
              <a:rPr lang="en-US" sz="2000" dirty="0" err="1"/>
              <a:t>eget</a:t>
            </a:r>
            <a:r>
              <a:rPr lang="en-US" sz="2000" dirty="0"/>
              <a:t>. Vitae </a:t>
            </a:r>
            <a:r>
              <a:rPr lang="en-US" sz="2000" dirty="0" err="1"/>
              <a:t>proin</a:t>
            </a:r>
            <a:r>
              <a:rPr lang="en-US" sz="2000" dirty="0"/>
              <a:t> </a:t>
            </a:r>
            <a:r>
              <a:rPr lang="en-US" sz="2000" dirty="0" err="1"/>
              <a:t>sagittis</a:t>
            </a:r>
            <a:r>
              <a:rPr lang="en-US" sz="2000" dirty="0"/>
              <a:t> </a:t>
            </a:r>
            <a:r>
              <a:rPr lang="en-US" sz="2000" dirty="0" err="1"/>
              <a:t>nisl</a:t>
            </a:r>
            <a:r>
              <a:rPr lang="en-US" sz="2000" dirty="0"/>
              <a:t> </a:t>
            </a:r>
            <a:r>
              <a:rPr lang="en-US" sz="2000" dirty="0" err="1"/>
              <a:t>rhoncus</a:t>
            </a:r>
            <a:r>
              <a:rPr lang="en-US" sz="2000" dirty="0"/>
              <a:t> </a:t>
            </a:r>
            <a:r>
              <a:rPr lang="en-US" sz="2000" dirty="0" err="1"/>
              <a:t>mattis</a:t>
            </a:r>
            <a:r>
              <a:rPr lang="en-US" sz="2000" dirty="0"/>
              <a:t> </a:t>
            </a:r>
            <a:r>
              <a:rPr lang="en-US" sz="2000" dirty="0" err="1"/>
              <a:t>rhoncus</a:t>
            </a:r>
            <a:r>
              <a:rPr lang="en-US" sz="2000" dirty="0"/>
              <a:t> </a:t>
            </a:r>
            <a:r>
              <a:rPr lang="en-US" sz="2000" dirty="0" err="1"/>
              <a:t>urna</a:t>
            </a:r>
            <a:r>
              <a:rPr lang="en-US" sz="2000" dirty="0"/>
              <a:t> </a:t>
            </a:r>
            <a:r>
              <a:rPr lang="en-US" sz="2000" dirty="0" err="1"/>
              <a:t>neque</a:t>
            </a:r>
            <a:r>
              <a:rPr lang="en-US" sz="2000" dirty="0"/>
              <a:t>. Mi </a:t>
            </a:r>
            <a:r>
              <a:rPr lang="en-US" sz="2000" dirty="0" err="1"/>
              <a:t>eget</a:t>
            </a:r>
            <a:r>
              <a:rPr lang="en-US" sz="2000" dirty="0"/>
              <a:t> </a:t>
            </a:r>
            <a:r>
              <a:rPr lang="en-US" sz="2000" dirty="0" err="1"/>
              <a:t>mauris</a:t>
            </a:r>
            <a:r>
              <a:rPr lang="en-US" sz="2000" dirty="0"/>
              <a:t> pharetra et. Ut </a:t>
            </a:r>
            <a:r>
              <a:rPr lang="en-US" sz="2000" dirty="0" err="1"/>
              <a:t>faucibus</a:t>
            </a:r>
            <a:r>
              <a:rPr lang="en-US" sz="2000" dirty="0"/>
              <a:t> pulvinar </a:t>
            </a:r>
            <a:r>
              <a:rPr lang="en-US" sz="2000" dirty="0" err="1"/>
              <a:t>elementum</a:t>
            </a:r>
            <a:r>
              <a:rPr lang="en-US" sz="2000" dirty="0"/>
              <a:t> integer </a:t>
            </a:r>
            <a:r>
              <a:rPr lang="en-US" sz="2000" dirty="0" err="1"/>
              <a:t>enim</a:t>
            </a:r>
            <a:r>
              <a:rPr lang="en-US" sz="2000" dirty="0"/>
              <a:t> </a:t>
            </a:r>
            <a:r>
              <a:rPr lang="en-US" sz="2000" dirty="0" err="1"/>
              <a:t>neque</a:t>
            </a:r>
            <a:r>
              <a:rPr lang="en-US" sz="2000" dirty="0"/>
              <a:t>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EA04334-E4B3-4A90-8F6B-14FA9BFDB1BF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95808A60-566E-400E-9966-26E84C7B268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F2C73C6-CB8E-4C06-850D-EFAFF4CAD1AC}"/>
              </a:ext>
            </a:extLst>
          </p:cNvPr>
          <p:cNvGrpSpPr/>
          <p:nvPr userDrawn="1"/>
        </p:nvGrpSpPr>
        <p:grpSpPr>
          <a:xfrm>
            <a:off x="305991" y="6569823"/>
            <a:ext cx="1566432" cy="137868"/>
            <a:chOff x="305991" y="6595827"/>
            <a:chExt cx="1566432" cy="137868"/>
          </a:xfrm>
        </p:grpSpPr>
        <p:sp>
          <p:nvSpPr>
            <p:cNvPr id="16" name="Footer Placeholder 3">
              <a:extLst>
                <a:ext uri="{FF2B5EF4-FFF2-40B4-BE49-F238E27FC236}">
                  <a16:creationId xmlns:a16="http://schemas.microsoft.com/office/drawing/2014/main" id="{9FAC924D-D788-41B5-A8ED-C64B46C337D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17" name="TextBox 25">
              <a:extLst>
                <a:ext uri="{FF2B5EF4-FFF2-40B4-BE49-F238E27FC236}">
                  <a16:creationId xmlns:a16="http://schemas.microsoft.com/office/drawing/2014/main" id="{DBFABCCD-7063-4131-87DA-CA9C4A3CD5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2</a:t>
              </a:r>
            </a:p>
          </p:txBody>
        </p:sp>
        <p:sp>
          <p:nvSpPr>
            <p:cNvPr id="18" name="Rectangle 26">
              <a:extLst>
                <a:ext uri="{FF2B5EF4-FFF2-40B4-BE49-F238E27FC236}">
                  <a16:creationId xmlns:a16="http://schemas.microsoft.com/office/drawing/2014/main" id="{2049259D-61BC-4511-954E-3EC5B30206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19" name="TextBox 24">
              <a:extLst>
                <a:ext uri="{FF2B5EF4-FFF2-40B4-BE49-F238E27FC236}">
                  <a16:creationId xmlns:a16="http://schemas.microsoft.com/office/drawing/2014/main" id="{8F8B55C1-29F9-4F09-8B73-551E9336B6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3576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5 REVERSED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EAAE2B66-F0DE-4845-86BD-4B11CCC28E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16047"/>
          <a:stretch/>
        </p:blipFill>
        <p:spPr>
          <a:xfrm>
            <a:off x="-8917" y="1"/>
            <a:ext cx="12204700" cy="6858000"/>
          </a:xfrm>
          <a:prstGeom prst="rect">
            <a:avLst/>
          </a:prstGeom>
        </p:spPr>
      </p:pic>
      <p:grpSp>
        <p:nvGrpSpPr>
          <p:cNvPr id="22" name="Group 21"/>
          <p:cNvGrpSpPr/>
          <p:nvPr userDrawn="1"/>
        </p:nvGrpSpPr>
        <p:grpSpPr>
          <a:xfrm>
            <a:off x="6095262" y="0"/>
            <a:ext cx="6101116" cy="6858864"/>
            <a:chOff x="6095262" y="0"/>
            <a:chExt cx="6101116" cy="6858864"/>
          </a:xfrm>
        </p:grpSpPr>
        <p:sp>
          <p:nvSpPr>
            <p:cNvPr id="23" name="Freeform 22"/>
            <p:cNvSpPr/>
            <p:nvPr userDrawn="1"/>
          </p:nvSpPr>
          <p:spPr>
            <a:xfrm>
              <a:off x="6105525" y="0"/>
              <a:ext cx="6082158" cy="6858000"/>
            </a:xfrm>
            <a:custGeom>
              <a:avLst/>
              <a:gdLst>
                <a:gd name="connsiteX0" fmla="*/ 6096000 w 6096000"/>
                <a:gd name="connsiteY0" fmla="*/ 0 h 6867525"/>
                <a:gd name="connsiteX1" fmla="*/ 0 w 6096000"/>
                <a:gd name="connsiteY1" fmla="*/ 9525 h 6867525"/>
                <a:gd name="connsiteX2" fmla="*/ 3362325 w 6096000"/>
                <a:gd name="connsiteY2" fmla="*/ 6867525 h 6867525"/>
                <a:gd name="connsiteX3" fmla="*/ 6096000 w 6096000"/>
                <a:gd name="connsiteY3" fmla="*/ 6858000 h 6867525"/>
                <a:gd name="connsiteX4" fmla="*/ 6096000 w 6096000"/>
                <a:gd name="connsiteY4" fmla="*/ 0 h 6867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6000" h="6867525">
                  <a:moveTo>
                    <a:pt x="6096000" y="0"/>
                  </a:moveTo>
                  <a:lnTo>
                    <a:pt x="0" y="9525"/>
                  </a:lnTo>
                  <a:lnTo>
                    <a:pt x="3362325" y="6867525"/>
                  </a:lnTo>
                  <a:lnTo>
                    <a:pt x="6096000" y="6858000"/>
                  </a:lnTo>
                  <a:lnTo>
                    <a:pt x="609600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 userDrawn="1"/>
          </p:nvSpPr>
          <p:spPr>
            <a:xfrm flipH="1">
              <a:off x="6099048" y="0"/>
              <a:ext cx="6096736" cy="4569416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2623 w 3395129"/>
                <a:gd name="connsiteY0" fmla="*/ 652 h 3446751"/>
                <a:gd name="connsiteX1" fmla="*/ 0 w 3395129"/>
                <a:gd name="connsiteY1" fmla="*/ 3446751 h 3446751"/>
                <a:gd name="connsiteX2" fmla="*/ 3395129 w 3395129"/>
                <a:gd name="connsiteY2" fmla="*/ 0 h 3446751"/>
                <a:gd name="connsiteX3" fmla="*/ 2623 w 3395129"/>
                <a:gd name="connsiteY3" fmla="*/ 652 h 3446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3446751">
                  <a:moveTo>
                    <a:pt x="2623" y="652"/>
                  </a:moveTo>
                  <a:cubicBezTo>
                    <a:pt x="1749" y="1149352"/>
                    <a:pt x="874" y="2298051"/>
                    <a:pt x="0" y="3446751"/>
                  </a:cubicBezTo>
                  <a:lnTo>
                    <a:pt x="3395129" y="0"/>
                  </a:lnTo>
                  <a:lnTo>
                    <a:pt x="2623" y="65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20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 userDrawn="1"/>
          </p:nvSpPr>
          <p:spPr>
            <a:xfrm flipH="1">
              <a:off x="9451181" y="4569416"/>
              <a:ext cx="2745197" cy="2289448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  <a:gd name="connsiteX0" fmla="*/ 1529836 w 1529836"/>
                <a:gd name="connsiteY0" fmla="*/ 1726951 h 1726951"/>
                <a:gd name="connsiteX1" fmla="*/ 4894 w 1529836"/>
                <a:gd name="connsiteY1" fmla="*/ 0 h 1726951"/>
                <a:gd name="connsiteX2" fmla="*/ 0 w 1529836"/>
                <a:gd name="connsiteY2" fmla="*/ 1719114 h 1726951"/>
                <a:gd name="connsiteX3" fmla="*/ 1529836 w 1529836"/>
                <a:gd name="connsiteY3" fmla="*/ 1726951 h 1726951"/>
                <a:gd name="connsiteX0" fmla="*/ 1524956 w 1524956"/>
                <a:gd name="connsiteY0" fmla="*/ 1726951 h 1726951"/>
                <a:gd name="connsiteX1" fmla="*/ 14 w 1524956"/>
                <a:gd name="connsiteY1" fmla="*/ 0 h 1726951"/>
                <a:gd name="connsiteX2" fmla="*/ 139661 w 1524956"/>
                <a:gd name="connsiteY2" fmla="*/ 1496385 h 1726951"/>
                <a:gd name="connsiteX3" fmla="*/ 1524956 w 1524956"/>
                <a:gd name="connsiteY3" fmla="*/ 1726951 h 1726951"/>
                <a:gd name="connsiteX0" fmla="*/ 1525273 w 1525273"/>
                <a:gd name="connsiteY0" fmla="*/ 1726951 h 1726951"/>
                <a:gd name="connsiteX1" fmla="*/ 331 w 1525273"/>
                <a:gd name="connsiteY1" fmla="*/ 0 h 1726951"/>
                <a:gd name="connsiteX2" fmla="*/ 2068 w 1525273"/>
                <a:gd name="connsiteY2" fmla="*/ 1726299 h 1726951"/>
                <a:gd name="connsiteX3" fmla="*/ 1525273 w 1525273"/>
                <a:gd name="connsiteY3" fmla="*/ 1726951 h 1726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5273" h="1726951">
                  <a:moveTo>
                    <a:pt x="1525273" y="1726951"/>
                  </a:moveTo>
                  <a:lnTo>
                    <a:pt x="331" y="0"/>
                  </a:lnTo>
                  <a:cubicBezTo>
                    <a:pt x="-1300" y="573038"/>
                    <a:pt x="3699" y="1153261"/>
                    <a:pt x="2068" y="1726299"/>
                  </a:cubicBezTo>
                  <a:lnTo>
                    <a:pt x="1525273" y="1726951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2"/>
                </a:gs>
                <a:gs pos="0">
                  <a:schemeClr val="accent3"/>
                </a:gs>
              </a:gsLst>
              <a:lin ang="13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Freeform 25"/>
            <p:cNvSpPr/>
            <p:nvPr userDrawn="1"/>
          </p:nvSpPr>
          <p:spPr>
            <a:xfrm flipH="1">
              <a:off x="6095262" y="0"/>
              <a:ext cx="6100521" cy="6858864"/>
            </a:xfrm>
            <a:custGeom>
              <a:avLst/>
              <a:gdLst>
                <a:gd name="connsiteX0" fmla="*/ 0 w 9162535"/>
                <a:gd name="connsiteY0" fmla="*/ 5146589 h 5146589"/>
                <a:gd name="connsiteX1" fmla="*/ 5999206 w 9162535"/>
                <a:gd name="connsiteY1" fmla="*/ 0 h 5146589"/>
                <a:gd name="connsiteX2" fmla="*/ 9162535 w 9162535"/>
                <a:gd name="connsiteY2" fmla="*/ 3342502 h 5146589"/>
                <a:gd name="connsiteX3" fmla="*/ 0 w 9162535"/>
                <a:gd name="connsiteY3" fmla="*/ 5146589 h 5146589"/>
                <a:gd name="connsiteX0" fmla="*/ 0 w 6061080"/>
                <a:gd name="connsiteY0" fmla="*/ 5160885 h 5160885"/>
                <a:gd name="connsiteX1" fmla="*/ 2897751 w 6061080"/>
                <a:gd name="connsiteY1" fmla="*/ 0 h 5160885"/>
                <a:gd name="connsiteX2" fmla="*/ 6061080 w 6061080"/>
                <a:gd name="connsiteY2" fmla="*/ 3342502 h 5160885"/>
                <a:gd name="connsiteX3" fmla="*/ 0 w 6061080"/>
                <a:gd name="connsiteY3" fmla="*/ 5160885 h 5160885"/>
                <a:gd name="connsiteX0" fmla="*/ 0 w 6075372"/>
                <a:gd name="connsiteY0" fmla="*/ 5160885 h 5160885"/>
                <a:gd name="connsiteX1" fmla="*/ 2897751 w 6075372"/>
                <a:gd name="connsiteY1" fmla="*/ 0 h 5160885"/>
                <a:gd name="connsiteX2" fmla="*/ 6075372 w 6075372"/>
                <a:gd name="connsiteY2" fmla="*/ 1755636 h 5160885"/>
                <a:gd name="connsiteX3" fmla="*/ 0 w 6075372"/>
                <a:gd name="connsiteY3" fmla="*/ 5160885 h 5160885"/>
                <a:gd name="connsiteX0" fmla="*/ 3119359 w 9194731"/>
                <a:gd name="connsiteY0" fmla="*/ 5203773 h 5203773"/>
                <a:gd name="connsiteX1" fmla="*/ 0 w 9194731"/>
                <a:gd name="connsiteY1" fmla="*/ 0 h 5203773"/>
                <a:gd name="connsiteX2" fmla="*/ 9194731 w 9194731"/>
                <a:gd name="connsiteY2" fmla="*/ 1798524 h 5203773"/>
                <a:gd name="connsiteX3" fmla="*/ 3119359 w 9194731"/>
                <a:gd name="connsiteY3" fmla="*/ 5203773 h 5203773"/>
                <a:gd name="connsiteX0" fmla="*/ 3119359 w 9194731"/>
                <a:gd name="connsiteY0" fmla="*/ 5147756 h 5147756"/>
                <a:gd name="connsiteX1" fmla="*/ 0 w 9194731"/>
                <a:gd name="connsiteY1" fmla="*/ 0 h 5147756"/>
                <a:gd name="connsiteX2" fmla="*/ 9194731 w 9194731"/>
                <a:gd name="connsiteY2" fmla="*/ 1742507 h 5147756"/>
                <a:gd name="connsiteX3" fmla="*/ 3119359 w 9194731"/>
                <a:gd name="connsiteY3" fmla="*/ 5147756 h 5147756"/>
                <a:gd name="connsiteX0" fmla="*/ 3151267 w 9226639"/>
                <a:gd name="connsiteY0" fmla="*/ 5163714 h 5163714"/>
                <a:gd name="connsiteX1" fmla="*/ 0 w 9226639"/>
                <a:gd name="connsiteY1" fmla="*/ 0 h 5163714"/>
                <a:gd name="connsiteX2" fmla="*/ 9226639 w 9226639"/>
                <a:gd name="connsiteY2" fmla="*/ 1758465 h 5163714"/>
                <a:gd name="connsiteX3" fmla="*/ 3151267 w 9226639"/>
                <a:gd name="connsiteY3" fmla="*/ 5163714 h 5163714"/>
                <a:gd name="connsiteX0" fmla="*/ 315126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151267 w 9198054"/>
                <a:gd name="connsiteY3" fmla="*/ 5163714 h 5163714"/>
                <a:gd name="connsiteX0" fmla="*/ 3208437 w 9198054"/>
                <a:gd name="connsiteY0" fmla="*/ 5163714 h 5163714"/>
                <a:gd name="connsiteX1" fmla="*/ 0 w 9198054"/>
                <a:gd name="connsiteY1" fmla="*/ 0 h 5163714"/>
                <a:gd name="connsiteX2" fmla="*/ 9198054 w 9198054"/>
                <a:gd name="connsiteY2" fmla="*/ 1901426 h 5163714"/>
                <a:gd name="connsiteX3" fmla="*/ 3208437 w 9198054"/>
                <a:gd name="connsiteY3" fmla="*/ 5163714 h 5163714"/>
                <a:gd name="connsiteX0" fmla="*/ 3160796 w 9198054"/>
                <a:gd name="connsiteY0" fmla="*/ 5154183 h 5154183"/>
                <a:gd name="connsiteX1" fmla="*/ 0 w 9198054"/>
                <a:gd name="connsiteY1" fmla="*/ 0 h 5154183"/>
                <a:gd name="connsiteX2" fmla="*/ 9198054 w 9198054"/>
                <a:gd name="connsiteY2" fmla="*/ 1901426 h 5154183"/>
                <a:gd name="connsiteX3" fmla="*/ 3160796 w 9198054"/>
                <a:gd name="connsiteY3" fmla="*/ 5154183 h 5154183"/>
                <a:gd name="connsiteX0" fmla="*/ 316079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16079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910957 h 5154183"/>
                <a:gd name="connsiteX3" fmla="*/ 3048116 w 9178997"/>
                <a:gd name="connsiteY3" fmla="*/ 5154183 h 5154183"/>
                <a:gd name="connsiteX0" fmla="*/ 3048116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3048116 w 9178997"/>
                <a:gd name="connsiteY3" fmla="*/ 5154183 h 5154183"/>
                <a:gd name="connsiteX0" fmla="*/ 1498773 w 9178997"/>
                <a:gd name="connsiteY0" fmla="*/ 5154183 h 5154183"/>
                <a:gd name="connsiteX1" fmla="*/ 0 w 9178997"/>
                <a:gd name="connsiteY1" fmla="*/ 0 h 5154183"/>
                <a:gd name="connsiteX2" fmla="*/ 9178997 w 9178997"/>
                <a:gd name="connsiteY2" fmla="*/ 1698542 h 5154183"/>
                <a:gd name="connsiteX3" fmla="*/ 1498773 w 9178997"/>
                <a:gd name="connsiteY3" fmla="*/ 5154183 h 5154183"/>
                <a:gd name="connsiteX0" fmla="*/ 1498773 w 3368960"/>
                <a:gd name="connsiteY0" fmla="*/ 5173702 h 5173702"/>
                <a:gd name="connsiteX1" fmla="*/ 0 w 3368960"/>
                <a:gd name="connsiteY1" fmla="*/ 19519 h 5173702"/>
                <a:gd name="connsiteX2" fmla="*/ 3368960 w 3368960"/>
                <a:gd name="connsiteY2" fmla="*/ 0 h 5173702"/>
                <a:gd name="connsiteX3" fmla="*/ 1498773 w 3368960"/>
                <a:gd name="connsiteY3" fmla="*/ 5173702 h 5173702"/>
                <a:gd name="connsiteX0" fmla="*/ 1513119 w 3383306"/>
                <a:gd name="connsiteY0" fmla="*/ 5173702 h 5173702"/>
                <a:gd name="connsiteX1" fmla="*/ 0 w 3383306"/>
                <a:gd name="connsiteY1" fmla="*/ 1730421 h 5173702"/>
                <a:gd name="connsiteX2" fmla="*/ 3383306 w 3383306"/>
                <a:gd name="connsiteY2" fmla="*/ 0 h 5173702"/>
                <a:gd name="connsiteX3" fmla="*/ 1513119 w 3383306"/>
                <a:gd name="connsiteY3" fmla="*/ 5173702 h 5173702"/>
                <a:gd name="connsiteX0" fmla="*/ 1524942 w 3395129"/>
                <a:gd name="connsiteY0" fmla="*/ 5173702 h 5173702"/>
                <a:gd name="connsiteX1" fmla="*/ 0 w 3395129"/>
                <a:gd name="connsiteY1" fmla="*/ 3446751 h 5173702"/>
                <a:gd name="connsiteX2" fmla="*/ 3395129 w 3395129"/>
                <a:gd name="connsiteY2" fmla="*/ 0 h 5173702"/>
                <a:gd name="connsiteX3" fmla="*/ 1524942 w 3395129"/>
                <a:gd name="connsiteY3" fmla="*/ 5173702 h 5173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5129" h="5173702">
                  <a:moveTo>
                    <a:pt x="1524942" y="5173702"/>
                  </a:moveTo>
                  <a:lnTo>
                    <a:pt x="0" y="3446751"/>
                  </a:lnTo>
                  <a:lnTo>
                    <a:pt x="3395129" y="0"/>
                  </a:lnTo>
                  <a:lnTo>
                    <a:pt x="1524942" y="5173702"/>
                  </a:lnTo>
                  <a:close/>
                </a:path>
              </a:pathLst>
            </a:custGeom>
            <a:gradFill flip="none" rotWithShape="1">
              <a:gsLst>
                <a:gs pos="1000">
                  <a:schemeClr val="accent2"/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035" y="1655791"/>
            <a:ext cx="11468909" cy="1994392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lnSpc>
                <a:spcPct val="80000"/>
              </a:lnSpc>
              <a:defRPr sz="7200" b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Two line title</a:t>
            </a:r>
            <a:br>
              <a:rPr lang="en-US" dirty="0"/>
            </a:br>
            <a:r>
              <a:rPr lang="en-US" dirty="0"/>
              <a:t>goes here</a:t>
            </a:r>
            <a:endParaRPr lang="en-GB" dirty="0"/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3895344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381000" y="384048"/>
            <a:ext cx="2384269" cy="432000"/>
            <a:chOff x="381000" y="384048"/>
            <a:chExt cx="2384269" cy="432000"/>
          </a:xfrm>
        </p:grpSpPr>
        <p:grpSp>
          <p:nvGrpSpPr>
            <p:cNvPr id="12" name="Group 11"/>
            <p:cNvGrpSpPr>
              <a:grpSpLocks noChangeAspect="1"/>
            </p:cNvGrpSpPr>
            <p:nvPr userDrawn="1"/>
          </p:nvGrpSpPr>
          <p:grpSpPr>
            <a:xfrm>
              <a:off x="1246412" y="392922"/>
              <a:ext cx="1518857" cy="423126"/>
              <a:chOff x="9836151" y="2917825"/>
              <a:chExt cx="11955463" cy="3330576"/>
            </a:xfrm>
            <a:solidFill>
              <a:schemeClr val="bg1"/>
            </a:solidFill>
          </p:grpSpPr>
          <p:sp>
            <p:nvSpPr>
              <p:cNvPr id="16" name="Freeform 6"/>
              <p:cNvSpPr>
                <a:spLocks/>
              </p:cNvSpPr>
              <p:nvPr userDrawn="1"/>
            </p:nvSpPr>
            <p:spPr bwMode="auto">
              <a:xfrm>
                <a:off x="9871076" y="2952750"/>
                <a:ext cx="868363" cy="1192213"/>
              </a:xfrm>
              <a:custGeom>
                <a:avLst/>
                <a:gdLst>
                  <a:gd name="T0" fmla="*/ 19 w 25"/>
                  <a:gd name="T1" fmla="*/ 10 h 34"/>
                  <a:gd name="T2" fmla="*/ 13 w 25"/>
                  <a:gd name="T3" fmla="*/ 5 h 34"/>
                  <a:gd name="T4" fmla="*/ 8 w 25"/>
                  <a:gd name="T5" fmla="*/ 9 h 34"/>
                  <a:gd name="T6" fmla="*/ 11 w 25"/>
                  <a:gd name="T7" fmla="*/ 13 h 34"/>
                  <a:gd name="T8" fmla="*/ 16 w 25"/>
                  <a:gd name="T9" fmla="*/ 14 h 34"/>
                  <a:gd name="T10" fmla="*/ 25 w 25"/>
                  <a:gd name="T11" fmla="*/ 24 h 34"/>
                  <a:gd name="T12" fmla="*/ 13 w 25"/>
                  <a:gd name="T13" fmla="*/ 34 h 34"/>
                  <a:gd name="T14" fmla="*/ 0 w 25"/>
                  <a:gd name="T15" fmla="*/ 24 h 34"/>
                  <a:gd name="T16" fmla="*/ 6 w 25"/>
                  <a:gd name="T17" fmla="*/ 22 h 34"/>
                  <a:gd name="T18" fmla="*/ 13 w 25"/>
                  <a:gd name="T19" fmla="*/ 28 h 34"/>
                  <a:gd name="T20" fmla="*/ 19 w 25"/>
                  <a:gd name="T21" fmla="*/ 24 h 34"/>
                  <a:gd name="T22" fmla="*/ 15 w 25"/>
                  <a:gd name="T23" fmla="*/ 20 h 34"/>
                  <a:gd name="T24" fmla="*/ 10 w 25"/>
                  <a:gd name="T25" fmla="*/ 19 h 34"/>
                  <a:gd name="T26" fmla="*/ 1 w 25"/>
                  <a:gd name="T27" fmla="*/ 10 h 34"/>
                  <a:gd name="T28" fmla="*/ 13 w 25"/>
                  <a:gd name="T29" fmla="*/ 0 h 34"/>
                  <a:gd name="T30" fmla="*/ 25 w 25"/>
                  <a:gd name="T31" fmla="*/ 8 h 34"/>
                  <a:gd name="T32" fmla="*/ 19 w 25"/>
                  <a:gd name="T33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" h="34">
                    <a:moveTo>
                      <a:pt x="19" y="10"/>
                    </a:moveTo>
                    <a:cubicBezTo>
                      <a:pt x="19" y="8"/>
                      <a:pt x="17" y="5"/>
                      <a:pt x="13" y="5"/>
                    </a:cubicBezTo>
                    <a:cubicBezTo>
                      <a:pt x="10" y="5"/>
                      <a:pt x="8" y="7"/>
                      <a:pt x="8" y="9"/>
                    </a:cubicBezTo>
                    <a:cubicBezTo>
                      <a:pt x="8" y="11"/>
                      <a:pt x="9" y="13"/>
                      <a:pt x="11" y="13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22" y="15"/>
                      <a:pt x="25" y="19"/>
                      <a:pt x="25" y="24"/>
                    </a:cubicBezTo>
                    <a:cubicBezTo>
                      <a:pt x="25" y="29"/>
                      <a:pt x="21" y="34"/>
                      <a:pt x="13" y="34"/>
                    </a:cubicBezTo>
                    <a:cubicBezTo>
                      <a:pt x="4" y="34"/>
                      <a:pt x="1" y="28"/>
                      <a:pt x="0" y="24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5"/>
                      <a:pt x="9" y="28"/>
                      <a:pt x="13" y="28"/>
                    </a:cubicBezTo>
                    <a:cubicBezTo>
                      <a:pt x="17" y="28"/>
                      <a:pt x="19" y="27"/>
                      <a:pt x="19" y="24"/>
                    </a:cubicBezTo>
                    <a:cubicBezTo>
                      <a:pt x="19" y="22"/>
                      <a:pt x="17" y="21"/>
                      <a:pt x="15" y="20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5" y="18"/>
                      <a:pt x="1" y="15"/>
                      <a:pt x="1" y="10"/>
                    </a:cubicBezTo>
                    <a:cubicBezTo>
                      <a:pt x="1" y="4"/>
                      <a:pt x="7" y="0"/>
                      <a:pt x="13" y="0"/>
                    </a:cubicBezTo>
                    <a:cubicBezTo>
                      <a:pt x="21" y="0"/>
                      <a:pt x="24" y="4"/>
                      <a:pt x="25" y="8"/>
                    </a:cubicBez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7" name="Freeform 7"/>
              <p:cNvSpPr>
                <a:spLocks/>
              </p:cNvSpPr>
              <p:nvPr userDrawn="1"/>
            </p:nvSpPr>
            <p:spPr bwMode="auto">
              <a:xfrm>
                <a:off x="10844213" y="3303588"/>
                <a:ext cx="798513" cy="841375"/>
              </a:xfrm>
              <a:custGeom>
                <a:avLst/>
                <a:gdLst>
                  <a:gd name="T0" fmla="*/ 6 w 23"/>
                  <a:gd name="T1" fmla="*/ 12 h 24"/>
                  <a:gd name="T2" fmla="*/ 12 w 23"/>
                  <a:gd name="T3" fmla="*/ 18 h 24"/>
                  <a:gd name="T4" fmla="*/ 17 w 23"/>
                  <a:gd name="T5" fmla="*/ 15 h 24"/>
                  <a:gd name="T6" fmla="*/ 23 w 23"/>
                  <a:gd name="T7" fmla="*/ 16 h 24"/>
                  <a:gd name="T8" fmla="*/ 12 w 23"/>
                  <a:gd name="T9" fmla="*/ 24 h 24"/>
                  <a:gd name="T10" fmla="*/ 0 w 23"/>
                  <a:gd name="T11" fmla="*/ 12 h 24"/>
                  <a:gd name="T12" fmla="*/ 12 w 23"/>
                  <a:gd name="T13" fmla="*/ 0 h 24"/>
                  <a:gd name="T14" fmla="*/ 23 w 23"/>
                  <a:gd name="T15" fmla="*/ 7 h 24"/>
                  <a:gd name="T16" fmla="*/ 17 w 23"/>
                  <a:gd name="T17" fmla="*/ 9 h 24"/>
                  <a:gd name="T18" fmla="*/ 12 w 23"/>
                  <a:gd name="T19" fmla="*/ 5 h 24"/>
                  <a:gd name="T20" fmla="*/ 6 w 23"/>
                  <a:gd name="T2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24">
                    <a:moveTo>
                      <a:pt x="6" y="12"/>
                    </a:moveTo>
                    <a:cubicBezTo>
                      <a:pt x="6" y="16"/>
                      <a:pt x="9" y="18"/>
                      <a:pt x="12" y="18"/>
                    </a:cubicBezTo>
                    <a:cubicBezTo>
                      <a:pt x="15" y="18"/>
                      <a:pt x="17" y="16"/>
                      <a:pt x="17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2" y="20"/>
                      <a:pt x="18" y="24"/>
                      <a:pt x="12" y="24"/>
                    </a:cubicBez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8" y="0"/>
                      <a:pt x="22" y="4"/>
                      <a:pt x="23" y="7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7" y="7"/>
                      <a:pt x="15" y="5"/>
                      <a:pt x="12" y="5"/>
                    </a:cubicBezTo>
                    <a:cubicBezTo>
                      <a:pt x="9" y="5"/>
                      <a:pt x="6" y="8"/>
                      <a:pt x="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8" name="Freeform 8"/>
              <p:cNvSpPr>
                <a:spLocks noEditPoints="1"/>
              </p:cNvSpPr>
              <p:nvPr userDrawn="1"/>
            </p:nvSpPr>
            <p:spPr bwMode="auto">
              <a:xfrm>
                <a:off x="11747501" y="2917825"/>
                <a:ext cx="277813" cy="1192213"/>
              </a:xfrm>
              <a:custGeom>
                <a:avLst/>
                <a:gdLst>
                  <a:gd name="T0" fmla="*/ 4 w 8"/>
                  <a:gd name="T1" fmla="*/ 0 h 34"/>
                  <a:gd name="T2" fmla="*/ 8 w 8"/>
                  <a:gd name="T3" fmla="*/ 4 h 34"/>
                  <a:gd name="T4" fmla="*/ 4 w 8"/>
                  <a:gd name="T5" fmla="*/ 8 h 34"/>
                  <a:gd name="T6" fmla="*/ 0 w 8"/>
                  <a:gd name="T7" fmla="*/ 4 h 34"/>
                  <a:gd name="T8" fmla="*/ 4 w 8"/>
                  <a:gd name="T9" fmla="*/ 0 h 34"/>
                  <a:gd name="T10" fmla="*/ 1 w 8"/>
                  <a:gd name="T11" fmla="*/ 34 h 34"/>
                  <a:gd name="T12" fmla="*/ 1 w 8"/>
                  <a:gd name="T13" fmla="*/ 11 h 34"/>
                  <a:gd name="T14" fmla="*/ 7 w 8"/>
                  <a:gd name="T15" fmla="*/ 11 h 34"/>
                  <a:gd name="T16" fmla="*/ 7 w 8"/>
                  <a:gd name="T17" fmla="*/ 34 h 34"/>
                  <a:gd name="T18" fmla="*/ 1 w 8"/>
                  <a:gd name="T1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4">
                    <a:moveTo>
                      <a:pt x="4" y="0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lose/>
                    <a:moveTo>
                      <a:pt x="1" y="34"/>
                    </a:moveTo>
                    <a:cubicBezTo>
                      <a:pt x="1" y="11"/>
                      <a:pt x="1" y="11"/>
                      <a:pt x="1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7" y="34"/>
                      <a:pt x="7" y="34"/>
                      <a:pt x="7" y="34"/>
                    </a:cubicBezTo>
                    <a:lnTo>
                      <a:pt x="1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9" name="Freeform 9"/>
              <p:cNvSpPr>
                <a:spLocks noEditPoints="1"/>
              </p:cNvSpPr>
              <p:nvPr userDrawn="1"/>
            </p:nvSpPr>
            <p:spPr bwMode="auto">
              <a:xfrm>
                <a:off x="12165013" y="3303588"/>
                <a:ext cx="763588" cy="841375"/>
              </a:xfrm>
              <a:custGeom>
                <a:avLst/>
                <a:gdLst>
                  <a:gd name="T0" fmla="*/ 22 w 22"/>
                  <a:gd name="T1" fmla="*/ 17 h 24"/>
                  <a:gd name="T2" fmla="*/ 12 w 22"/>
                  <a:gd name="T3" fmla="*/ 24 h 24"/>
                  <a:gd name="T4" fmla="*/ 0 w 22"/>
                  <a:gd name="T5" fmla="*/ 12 h 24"/>
                  <a:gd name="T6" fmla="*/ 11 w 22"/>
                  <a:gd name="T7" fmla="*/ 0 h 24"/>
                  <a:gd name="T8" fmla="*/ 22 w 22"/>
                  <a:gd name="T9" fmla="*/ 12 h 24"/>
                  <a:gd name="T10" fmla="*/ 22 w 22"/>
                  <a:gd name="T11" fmla="*/ 14 h 24"/>
                  <a:gd name="T12" fmla="*/ 6 w 22"/>
                  <a:gd name="T13" fmla="*/ 14 h 24"/>
                  <a:gd name="T14" fmla="*/ 12 w 22"/>
                  <a:gd name="T15" fmla="*/ 19 h 24"/>
                  <a:gd name="T16" fmla="*/ 17 w 22"/>
                  <a:gd name="T17" fmla="*/ 15 h 24"/>
                  <a:gd name="T18" fmla="*/ 22 w 22"/>
                  <a:gd name="T19" fmla="*/ 17 h 24"/>
                  <a:gd name="T20" fmla="*/ 16 w 22"/>
                  <a:gd name="T21" fmla="*/ 9 h 24"/>
                  <a:gd name="T22" fmla="*/ 11 w 22"/>
                  <a:gd name="T23" fmla="*/ 5 h 24"/>
                  <a:gd name="T24" fmla="*/ 6 w 22"/>
                  <a:gd name="T25" fmla="*/ 9 h 24"/>
                  <a:gd name="T26" fmla="*/ 16 w 22"/>
                  <a:gd name="T27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4">
                    <a:moveTo>
                      <a:pt x="22" y="17"/>
                    </a:moveTo>
                    <a:cubicBezTo>
                      <a:pt x="21" y="21"/>
                      <a:pt x="17" y="24"/>
                      <a:pt x="12" y="24"/>
                    </a:cubicBezTo>
                    <a:cubicBezTo>
                      <a:pt x="5" y="24"/>
                      <a:pt x="0" y="20"/>
                      <a:pt x="0" y="12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8" y="0"/>
                      <a:pt x="22" y="4"/>
                      <a:pt x="22" y="12"/>
                    </a:cubicBezTo>
                    <a:cubicBezTo>
                      <a:pt x="22" y="12"/>
                      <a:pt x="22" y="13"/>
                      <a:pt x="22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7"/>
                      <a:pt x="9" y="19"/>
                      <a:pt x="12" y="19"/>
                    </a:cubicBezTo>
                    <a:cubicBezTo>
                      <a:pt x="15" y="19"/>
                      <a:pt x="16" y="17"/>
                      <a:pt x="17" y="15"/>
                    </a:cubicBezTo>
                    <a:lnTo>
                      <a:pt x="22" y="17"/>
                    </a:lnTo>
                    <a:close/>
                    <a:moveTo>
                      <a:pt x="16" y="9"/>
                    </a:moveTo>
                    <a:cubicBezTo>
                      <a:pt x="16" y="7"/>
                      <a:pt x="15" y="5"/>
                      <a:pt x="11" y="5"/>
                    </a:cubicBezTo>
                    <a:cubicBezTo>
                      <a:pt x="8" y="5"/>
                      <a:pt x="6" y="7"/>
                      <a:pt x="6" y="9"/>
                    </a:cubicBezTo>
                    <a:lnTo>
                      <a:pt x="1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0" name="Freeform 10"/>
              <p:cNvSpPr>
                <a:spLocks/>
              </p:cNvSpPr>
              <p:nvPr userDrawn="1"/>
            </p:nvSpPr>
            <p:spPr bwMode="auto">
              <a:xfrm>
                <a:off x="13103226" y="3303588"/>
                <a:ext cx="730250" cy="806450"/>
              </a:xfrm>
              <a:custGeom>
                <a:avLst/>
                <a:gdLst>
                  <a:gd name="T0" fmla="*/ 6 w 21"/>
                  <a:gd name="T1" fmla="*/ 23 h 23"/>
                  <a:gd name="T2" fmla="*/ 0 w 21"/>
                  <a:gd name="T3" fmla="*/ 23 h 23"/>
                  <a:gd name="T4" fmla="*/ 0 w 21"/>
                  <a:gd name="T5" fmla="*/ 0 h 23"/>
                  <a:gd name="T6" fmla="*/ 6 w 21"/>
                  <a:gd name="T7" fmla="*/ 0 h 23"/>
                  <a:gd name="T8" fmla="*/ 6 w 21"/>
                  <a:gd name="T9" fmla="*/ 3 h 23"/>
                  <a:gd name="T10" fmla="*/ 13 w 21"/>
                  <a:gd name="T11" fmla="*/ 0 h 23"/>
                  <a:gd name="T12" fmla="*/ 21 w 21"/>
                  <a:gd name="T13" fmla="*/ 9 h 23"/>
                  <a:gd name="T14" fmla="*/ 21 w 21"/>
                  <a:gd name="T15" fmla="*/ 23 h 23"/>
                  <a:gd name="T16" fmla="*/ 15 w 21"/>
                  <a:gd name="T17" fmla="*/ 23 h 23"/>
                  <a:gd name="T18" fmla="*/ 15 w 21"/>
                  <a:gd name="T19" fmla="*/ 10 h 23"/>
                  <a:gd name="T20" fmla="*/ 10 w 21"/>
                  <a:gd name="T21" fmla="*/ 5 h 23"/>
                  <a:gd name="T22" fmla="*/ 6 w 21"/>
                  <a:gd name="T23" fmla="*/ 10 h 23"/>
                  <a:gd name="T24" fmla="*/ 6 w 21"/>
                  <a:gd name="T2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23">
                    <a:moveTo>
                      <a:pt x="6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10" y="0"/>
                      <a:pt x="13" y="0"/>
                    </a:cubicBezTo>
                    <a:cubicBezTo>
                      <a:pt x="18" y="0"/>
                      <a:pt x="21" y="4"/>
                      <a:pt x="21" y="9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10"/>
                      <a:pt x="15" y="10"/>
                      <a:pt x="15" y="10"/>
                    </a:cubicBezTo>
                    <a:cubicBezTo>
                      <a:pt x="15" y="7"/>
                      <a:pt x="13" y="5"/>
                      <a:pt x="10" y="5"/>
                    </a:cubicBezTo>
                    <a:cubicBezTo>
                      <a:pt x="8" y="5"/>
                      <a:pt x="6" y="8"/>
                      <a:pt x="6" y="10"/>
                    </a:cubicBezTo>
                    <a:lnTo>
                      <a:pt x="6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1" name="Freeform 11"/>
              <p:cNvSpPr>
                <a:spLocks/>
              </p:cNvSpPr>
              <p:nvPr userDrawn="1"/>
            </p:nvSpPr>
            <p:spPr bwMode="auto">
              <a:xfrm>
                <a:off x="13971588" y="3303588"/>
                <a:ext cx="800100" cy="841375"/>
              </a:xfrm>
              <a:custGeom>
                <a:avLst/>
                <a:gdLst>
                  <a:gd name="T0" fmla="*/ 6 w 23"/>
                  <a:gd name="T1" fmla="*/ 12 h 24"/>
                  <a:gd name="T2" fmla="*/ 12 w 23"/>
                  <a:gd name="T3" fmla="*/ 18 h 24"/>
                  <a:gd name="T4" fmla="*/ 17 w 23"/>
                  <a:gd name="T5" fmla="*/ 15 h 24"/>
                  <a:gd name="T6" fmla="*/ 23 w 23"/>
                  <a:gd name="T7" fmla="*/ 16 h 24"/>
                  <a:gd name="T8" fmla="*/ 12 w 23"/>
                  <a:gd name="T9" fmla="*/ 24 h 24"/>
                  <a:gd name="T10" fmla="*/ 0 w 23"/>
                  <a:gd name="T11" fmla="*/ 12 h 24"/>
                  <a:gd name="T12" fmla="*/ 12 w 23"/>
                  <a:gd name="T13" fmla="*/ 0 h 24"/>
                  <a:gd name="T14" fmla="*/ 22 w 23"/>
                  <a:gd name="T15" fmla="*/ 7 h 24"/>
                  <a:gd name="T16" fmla="*/ 17 w 23"/>
                  <a:gd name="T17" fmla="*/ 9 h 24"/>
                  <a:gd name="T18" fmla="*/ 12 w 23"/>
                  <a:gd name="T19" fmla="*/ 5 h 24"/>
                  <a:gd name="T20" fmla="*/ 6 w 23"/>
                  <a:gd name="T2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" h="24">
                    <a:moveTo>
                      <a:pt x="6" y="12"/>
                    </a:moveTo>
                    <a:cubicBezTo>
                      <a:pt x="6" y="16"/>
                      <a:pt x="9" y="18"/>
                      <a:pt x="12" y="18"/>
                    </a:cubicBezTo>
                    <a:cubicBezTo>
                      <a:pt x="15" y="18"/>
                      <a:pt x="17" y="16"/>
                      <a:pt x="17" y="15"/>
                    </a:cubicBezTo>
                    <a:cubicBezTo>
                      <a:pt x="23" y="16"/>
                      <a:pt x="23" y="16"/>
                      <a:pt x="23" y="16"/>
                    </a:cubicBezTo>
                    <a:cubicBezTo>
                      <a:pt x="21" y="20"/>
                      <a:pt x="18" y="24"/>
                      <a:pt x="12" y="24"/>
                    </a:cubicBez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8" y="0"/>
                      <a:pt x="21" y="4"/>
                      <a:pt x="22" y="7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6" y="7"/>
                      <a:pt x="15" y="5"/>
                      <a:pt x="12" y="5"/>
                    </a:cubicBezTo>
                    <a:cubicBezTo>
                      <a:pt x="9" y="5"/>
                      <a:pt x="6" y="8"/>
                      <a:pt x="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7" name="Freeform 12"/>
              <p:cNvSpPr>
                <a:spLocks noEditPoints="1"/>
              </p:cNvSpPr>
              <p:nvPr userDrawn="1"/>
            </p:nvSpPr>
            <p:spPr bwMode="auto">
              <a:xfrm>
                <a:off x="14839951" y="3303588"/>
                <a:ext cx="800100" cy="841375"/>
              </a:xfrm>
              <a:custGeom>
                <a:avLst/>
                <a:gdLst>
                  <a:gd name="T0" fmla="*/ 22 w 23"/>
                  <a:gd name="T1" fmla="*/ 17 h 24"/>
                  <a:gd name="T2" fmla="*/ 12 w 23"/>
                  <a:gd name="T3" fmla="*/ 24 h 24"/>
                  <a:gd name="T4" fmla="*/ 0 w 23"/>
                  <a:gd name="T5" fmla="*/ 12 h 24"/>
                  <a:gd name="T6" fmla="*/ 11 w 23"/>
                  <a:gd name="T7" fmla="*/ 0 h 24"/>
                  <a:gd name="T8" fmla="*/ 23 w 23"/>
                  <a:gd name="T9" fmla="*/ 12 h 24"/>
                  <a:gd name="T10" fmla="*/ 23 w 23"/>
                  <a:gd name="T11" fmla="*/ 14 h 24"/>
                  <a:gd name="T12" fmla="*/ 6 w 23"/>
                  <a:gd name="T13" fmla="*/ 14 h 24"/>
                  <a:gd name="T14" fmla="*/ 12 w 23"/>
                  <a:gd name="T15" fmla="*/ 19 h 24"/>
                  <a:gd name="T16" fmla="*/ 17 w 23"/>
                  <a:gd name="T17" fmla="*/ 15 h 24"/>
                  <a:gd name="T18" fmla="*/ 22 w 23"/>
                  <a:gd name="T19" fmla="*/ 17 h 24"/>
                  <a:gd name="T20" fmla="*/ 16 w 23"/>
                  <a:gd name="T21" fmla="*/ 9 h 24"/>
                  <a:gd name="T22" fmla="*/ 11 w 23"/>
                  <a:gd name="T23" fmla="*/ 5 h 24"/>
                  <a:gd name="T24" fmla="*/ 6 w 23"/>
                  <a:gd name="T25" fmla="*/ 9 h 24"/>
                  <a:gd name="T26" fmla="*/ 16 w 23"/>
                  <a:gd name="T27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" h="24">
                    <a:moveTo>
                      <a:pt x="22" y="17"/>
                    </a:moveTo>
                    <a:cubicBezTo>
                      <a:pt x="21" y="21"/>
                      <a:pt x="17" y="24"/>
                      <a:pt x="12" y="24"/>
                    </a:cubicBezTo>
                    <a:cubicBezTo>
                      <a:pt x="6" y="24"/>
                      <a:pt x="0" y="20"/>
                      <a:pt x="0" y="12"/>
                    </a:cubicBezTo>
                    <a:cubicBezTo>
                      <a:pt x="0" y="4"/>
                      <a:pt x="5" y="0"/>
                      <a:pt x="11" y="0"/>
                    </a:cubicBezTo>
                    <a:cubicBezTo>
                      <a:pt x="18" y="0"/>
                      <a:pt x="23" y="4"/>
                      <a:pt x="23" y="12"/>
                    </a:cubicBezTo>
                    <a:cubicBezTo>
                      <a:pt x="23" y="12"/>
                      <a:pt x="23" y="13"/>
                      <a:pt x="23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7"/>
                      <a:pt x="9" y="19"/>
                      <a:pt x="12" y="19"/>
                    </a:cubicBezTo>
                    <a:cubicBezTo>
                      <a:pt x="15" y="19"/>
                      <a:pt x="16" y="17"/>
                      <a:pt x="17" y="15"/>
                    </a:cubicBezTo>
                    <a:lnTo>
                      <a:pt x="22" y="17"/>
                    </a:lnTo>
                    <a:close/>
                    <a:moveTo>
                      <a:pt x="16" y="9"/>
                    </a:moveTo>
                    <a:cubicBezTo>
                      <a:pt x="16" y="7"/>
                      <a:pt x="15" y="5"/>
                      <a:pt x="11" y="5"/>
                    </a:cubicBezTo>
                    <a:cubicBezTo>
                      <a:pt x="8" y="5"/>
                      <a:pt x="6" y="7"/>
                      <a:pt x="6" y="9"/>
                    </a:cubicBezTo>
                    <a:lnTo>
                      <a:pt x="1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Oval 13"/>
              <p:cNvSpPr>
                <a:spLocks noChangeArrowheads="1"/>
              </p:cNvSpPr>
              <p:nvPr userDrawn="1"/>
            </p:nvSpPr>
            <p:spPr bwMode="auto">
              <a:xfrm>
                <a:off x="15744826" y="3829050"/>
                <a:ext cx="312738" cy="3159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9" name="Freeform 14"/>
              <p:cNvSpPr>
                <a:spLocks noEditPoints="1"/>
              </p:cNvSpPr>
              <p:nvPr userDrawn="1"/>
            </p:nvSpPr>
            <p:spPr bwMode="auto">
              <a:xfrm>
                <a:off x="9836151" y="4776788"/>
                <a:ext cx="1146175" cy="1155700"/>
              </a:xfrm>
              <a:custGeom>
                <a:avLst/>
                <a:gdLst>
                  <a:gd name="T0" fmla="*/ 503 w 722"/>
                  <a:gd name="T1" fmla="*/ 552 h 728"/>
                  <a:gd name="T2" fmla="*/ 219 w 722"/>
                  <a:gd name="T3" fmla="*/ 552 h 728"/>
                  <a:gd name="T4" fmla="*/ 153 w 722"/>
                  <a:gd name="T5" fmla="*/ 728 h 728"/>
                  <a:gd name="T6" fmla="*/ 0 w 722"/>
                  <a:gd name="T7" fmla="*/ 728 h 728"/>
                  <a:gd name="T8" fmla="*/ 285 w 722"/>
                  <a:gd name="T9" fmla="*/ 0 h 728"/>
                  <a:gd name="T10" fmla="*/ 438 w 722"/>
                  <a:gd name="T11" fmla="*/ 0 h 728"/>
                  <a:gd name="T12" fmla="*/ 722 w 722"/>
                  <a:gd name="T13" fmla="*/ 728 h 728"/>
                  <a:gd name="T14" fmla="*/ 569 w 722"/>
                  <a:gd name="T15" fmla="*/ 728 h 728"/>
                  <a:gd name="T16" fmla="*/ 503 w 722"/>
                  <a:gd name="T17" fmla="*/ 552 h 728"/>
                  <a:gd name="T18" fmla="*/ 263 w 722"/>
                  <a:gd name="T19" fmla="*/ 419 h 728"/>
                  <a:gd name="T20" fmla="*/ 460 w 722"/>
                  <a:gd name="T21" fmla="*/ 419 h 728"/>
                  <a:gd name="T22" fmla="*/ 350 w 722"/>
                  <a:gd name="T23" fmla="*/ 154 h 728"/>
                  <a:gd name="T24" fmla="*/ 263 w 722"/>
                  <a:gd name="T25" fmla="*/ 419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2" h="728">
                    <a:moveTo>
                      <a:pt x="503" y="552"/>
                    </a:moveTo>
                    <a:lnTo>
                      <a:pt x="219" y="552"/>
                    </a:lnTo>
                    <a:lnTo>
                      <a:pt x="153" y="728"/>
                    </a:lnTo>
                    <a:lnTo>
                      <a:pt x="0" y="728"/>
                    </a:lnTo>
                    <a:lnTo>
                      <a:pt x="285" y="0"/>
                    </a:lnTo>
                    <a:lnTo>
                      <a:pt x="438" y="0"/>
                    </a:lnTo>
                    <a:lnTo>
                      <a:pt x="722" y="728"/>
                    </a:lnTo>
                    <a:lnTo>
                      <a:pt x="569" y="728"/>
                    </a:lnTo>
                    <a:lnTo>
                      <a:pt x="503" y="552"/>
                    </a:lnTo>
                    <a:close/>
                    <a:moveTo>
                      <a:pt x="263" y="419"/>
                    </a:moveTo>
                    <a:lnTo>
                      <a:pt x="460" y="419"/>
                    </a:lnTo>
                    <a:lnTo>
                      <a:pt x="350" y="154"/>
                    </a:lnTo>
                    <a:lnTo>
                      <a:pt x="263" y="4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0" name="Freeform 15"/>
              <p:cNvSpPr>
                <a:spLocks noEditPoints="1"/>
              </p:cNvSpPr>
              <p:nvPr userDrawn="1"/>
            </p:nvSpPr>
            <p:spPr bwMode="auto">
              <a:xfrm>
                <a:off x="11087101" y="5091113"/>
                <a:ext cx="833438" cy="1157288"/>
              </a:xfrm>
              <a:custGeom>
                <a:avLst/>
                <a:gdLst>
                  <a:gd name="T0" fmla="*/ 0 w 24"/>
                  <a:gd name="T1" fmla="*/ 33 h 33"/>
                  <a:gd name="T2" fmla="*/ 0 w 24"/>
                  <a:gd name="T3" fmla="*/ 1 h 33"/>
                  <a:gd name="T4" fmla="*/ 6 w 24"/>
                  <a:gd name="T5" fmla="*/ 1 h 33"/>
                  <a:gd name="T6" fmla="*/ 6 w 24"/>
                  <a:gd name="T7" fmla="*/ 4 h 33"/>
                  <a:gd name="T8" fmla="*/ 13 w 24"/>
                  <a:gd name="T9" fmla="*/ 0 h 33"/>
                  <a:gd name="T10" fmla="*/ 24 w 24"/>
                  <a:gd name="T11" fmla="*/ 12 h 33"/>
                  <a:gd name="T12" fmla="*/ 13 w 24"/>
                  <a:gd name="T13" fmla="*/ 24 h 33"/>
                  <a:gd name="T14" fmla="*/ 7 w 24"/>
                  <a:gd name="T15" fmla="*/ 22 h 33"/>
                  <a:gd name="T16" fmla="*/ 7 w 24"/>
                  <a:gd name="T17" fmla="*/ 33 h 33"/>
                  <a:gd name="T18" fmla="*/ 0 w 24"/>
                  <a:gd name="T19" fmla="*/ 33 h 33"/>
                  <a:gd name="T20" fmla="*/ 12 w 24"/>
                  <a:gd name="T21" fmla="*/ 6 h 33"/>
                  <a:gd name="T22" fmla="*/ 6 w 24"/>
                  <a:gd name="T23" fmla="*/ 12 h 33"/>
                  <a:gd name="T24" fmla="*/ 12 w 24"/>
                  <a:gd name="T25" fmla="*/ 19 h 33"/>
                  <a:gd name="T26" fmla="*/ 18 w 24"/>
                  <a:gd name="T27" fmla="*/ 12 h 33"/>
                  <a:gd name="T28" fmla="*/ 12 w 24"/>
                  <a:gd name="T29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3">
                    <a:moveTo>
                      <a:pt x="0" y="33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3" y="0"/>
                    </a:cubicBezTo>
                    <a:cubicBezTo>
                      <a:pt x="20" y="0"/>
                      <a:pt x="24" y="5"/>
                      <a:pt x="24" y="12"/>
                    </a:cubicBezTo>
                    <a:cubicBezTo>
                      <a:pt x="24" y="19"/>
                      <a:pt x="20" y="24"/>
                      <a:pt x="13" y="24"/>
                    </a:cubicBezTo>
                    <a:cubicBezTo>
                      <a:pt x="10" y="24"/>
                      <a:pt x="8" y="23"/>
                      <a:pt x="7" y="22"/>
                    </a:cubicBezTo>
                    <a:cubicBezTo>
                      <a:pt x="7" y="33"/>
                      <a:pt x="7" y="33"/>
                      <a:pt x="7" y="33"/>
                    </a:cubicBezTo>
                    <a:lnTo>
                      <a:pt x="0" y="33"/>
                    </a:lnTo>
                    <a:close/>
                    <a:moveTo>
                      <a:pt x="12" y="6"/>
                    </a:moveTo>
                    <a:cubicBezTo>
                      <a:pt x="9" y="6"/>
                      <a:pt x="6" y="8"/>
                      <a:pt x="6" y="12"/>
                    </a:cubicBezTo>
                    <a:cubicBezTo>
                      <a:pt x="6" y="16"/>
                      <a:pt x="9" y="19"/>
                      <a:pt x="12" y="19"/>
                    </a:cubicBezTo>
                    <a:cubicBezTo>
                      <a:pt x="15" y="19"/>
                      <a:pt x="18" y="16"/>
                      <a:pt x="18" y="12"/>
                    </a:cubicBezTo>
                    <a:cubicBezTo>
                      <a:pt x="18" y="8"/>
                      <a:pt x="15" y="6"/>
                      <a:pt x="1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1" name="Freeform 16"/>
              <p:cNvSpPr>
                <a:spLocks noEditPoints="1"/>
              </p:cNvSpPr>
              <p:nvPr userDrawn="1"/>
            </p:nvSpPr>
            <p:spPr bwMode="auto">
              <a:xfrm>
                <a:off x="12060238" y="5091113"/>
                <a:ext cx="833438" cy="1157288"/>
              </a:xfrm>
              <a:custGeom>
                <a:avLst/>
                <a:gdLst>
                  <a:gd name="T0" fmla="*/ 0 w 24"/>
                  <a:gd name="T1" fmla="*/ 33 h 33"/>
                  <a:gd name="T2" fmla="*/ 0 w 24"/>
                  <a:gd name="T3" fmla="*/ 1 h 33"/>
                  <a:gd name="T4" fmla="*/ 6 w 24"/>
                  <a:gd name="T5" fmla="*/ 1 h 33"/>
                  <a:gd name="T6" fmla="*/ 6 w 24"/>
                  <a:gd name="T7" fmla="*/ 4 h 33"/>
                  <a:gd name="T8" fmla="*/ 13 w 24"/>
                  <a:gd name="T9" fmla="*/ 0 h 33"/>
                  <a:gd name="T10" fmla="*/ 24 w 24"/>
                  <a:gd name="T11" fmla="*/ 12 h 33"/>
                  <a:gd name="T12" fmla="*/ 13 w 24"/>
                  <a:gd name="T13" fmla="*/ 24 h 33"/>
                  <a:gd name="T14" fmla="*/ 6 w 24"/>
                  <a:gd name="T15" fmla="*/ 22 h 33"/>
                  <a:gd name="T16" fmla="*/ 6 w 24"/>
                  <a:gd name="T17" fmla="*/ 33 h 33"/>
                  <a:gd name="T18" fmla="*/ 0 w 24"/>
                  <a:gd name="T19" fmla="*/ 33 h 33"/>
                  <a:gd name="T20" fmla="*/ 12 w 24"/>
                  <a:gd name="T21" fmla="*/ 6 h 33"/>
                  <a:gd name="T22" fmla="*/ 6 w 24"/>
                  <a:gd name="T23" fmla="*/ 12 h 33"/>
                  <a:gd name="T24" fmla="*/ 12 w 24"/>
                  <a:gd name="T25" fmla="*/ 19 h 33"/>
                  <a:gd name="T26" fmla="*/ 18 w 24"/>
                  <a:gd name="T27" fmla="*/ 12 h 33"/>
                  <a:gd name="T28" fmla="*/ 12 w 24"/>
                  <a:gd name="T29" fmla="*/ 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3">
                    <a:moveTo>
                      <a:pt x="0" y="33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3" y="0"/>
                    </a:cubicBezTo>
                    <a:cubicBezTo>
                      <a:pt x="20" y="0"/>
                      <a:pt x="24" y="5"/>
                      <a:pt x="24" y="12"/>
                    </a:cubicBezTo>
                    <a:cubicBezTo>
                      <a:pt x="24" y="19"/>
                      <a:pt x="19" y="24"/>
                      <a:pt x="13" y="24"/>
                    </a:cubicBezTo>
                    <a:cubicBezTo>
                      <a:pt x="10" y="24"/>
                      <a:pt x="7" y="23"/>
                      <a:pt x="6" y="22"/>
                    </a:cubicBezTo>
                    <a:cubicBezTo>
                      <a:pt x="6" y="33"/>
                      <a:pt x="6" y="33"/>
                      <a:pt x="6" y="33"/>
                    </a:cubicBezTo>
                    <a:lnTo>
                      <a:pt x="0" y="33"/>
                    </a:lnTo>
                    <a:close/>
                    <a:moveTo>
                      <a:pt x="12" y="6"/>
                    </a:moveTo>
                    <a:cubicBezTo>
                      <a:pt x="9" y="6"/>
                      <a:pt x="6" y="8"/>
                      <a:pt x="6" y="12"/>
                    </a:cubicBezTo>
                    <a:cubicBezTo>
                      <a:pt x="6" y="16"/>
                      <a:pt x="9" y="19"/>
                      <a:pt x="12" y="19"/>
                    </a:cubicBezTo>
                    <a:cubicBezTo>
                      <a:pt x="15" y="19"/>
                      <a:pt x="18" y="16"/>
                      <a:pt x="18" y="12"/>
                    </a:cubicBezTo>
                    <a:cubicBezTo>
                      <a:pt x="18" y="8"/>
                      <a:pt x="15" y="6"/>
                      <a:pt x="1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2" name="Rectangle 17"/>
              <p:cNvSpPr>
                <a:spLocks noChangeArrowheads="1"/>
              </p:cNvSpPr>
              <p:nvPr userDrawn="1"/>
            </p:nvSpPr>
            <p:spPr bwMode="auto">
              <a:xfrm>
                <a:off x="13033376" y="4741863"/>
                <a:ext cx="207963" cy="11906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3" name="Freeform 18"/>
              <p:cNvSpPr>
                <a:spLocks noEditPoints="1"/>
              </p:cNvSpPr>
              <p:nvPr userDrawn="1"/>
            </p:nvSpPr>
            <p:spPr bwMode="auto">
              <a:xfrm>
                <a:off x="13450888" y="4705350"/>
                <a:ext cx="242888" cy="1227138"/>
              </a:xfrm>
              <a:custGeom>
                <a:avLst/>
                <a:gdLst>
                  <a:gd name="T0" fmla="*/ 4 w 7"/>
                  <a:gd name="T1" fmla="*/ 0 h 35"/>
                  <a:gd name="T2" fmla="*/ 7 w 7"/>
                  <a:gd name="T3" fmla="*/ 4 h 35"/>
                  <a:gd name="T4" fmla="*/ 4 w 7"/>
                  <a:gd name="T5" fmla="*/ 8 h 35"/>
                  <a:gd name="T6" fmla="*/ 0 w 7"/>
                  <a:gd name="T7" fmla="*/ 4 h 35"/>
                  <a:gd name="T8" fmla="*/ 4 w 7"/>
                  <a:gd name="T9" fmla="*/ 0 h 35"/>
                  <a:gd name="T10" fmla="*/ 1 w 7"/>
                  <a:gd name="T11" fmla="*/ 35 h 35"/>
                  <a:gd name="T12" fmla="*/ 1 w 7"/>
                  <a:gd name="T13" fmla="*/ 12 h 35"/>
                  <a:gd name="T14" fmla="*/ 7 w 7"/>
                  <a:gd name="T15" fmla="*/ 12 h 35"/>
                  <a:gd name="T16" fmla="*/ 7 w 7"/>
                  <a:gd name="T17" fmla="*/ 35 h 35"/>
                  <a:gd name="T18" fmla="*/ 1 w 7"/>
                  <a:gd name="T1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35">
                    <a:moveTo>
                      <a:pt x="4" y="0"/>
                    </a:moveTo>
                    <a:cubicBezTo>
                      <a:pt x="6" y="0"/>
                      <a:pt x="7" y="2"/>
                      <a:pt x="7" y="4"/>
                    </a:cubicBezTo>
                    <a:cubicBezTo>
                      <a:pt x="7" y="6"/>
                      <a:pt x="6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lose/>
                    <a:moveTo>
                      <a:pt x="1" y="35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35"/>
                      <a:pt x="7" y="35"/>
                      <a:pt x="7" y="35"/>
                    </a:cubicBezTo>
                    <a:lnTo>
                      <a:pt x="1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4" name="Freeform 19"/>
              <p:cNvSpPr>
                <a:spLocks noEditPoints="1"/>
              </p:cNvSpPr>
              <p:nvPr userDrawn="1"/>
            </p:nvSpPr>
            <p:spPr bwMode="auto">
              <a:xfrm>
                <a:off x="13866813" y="5091113"/>
                <a:ext cx="765175" cy="841375"/>
              </a:xfrm>
              <a:custGeom>
                <a:avLst/>
                <a:gdLst>
                  <a:gd name="T0" fmla="*/ 22 w 22"/>
                  <a:gd name="T1" fmla="*/ 17 h 24"/>
                  <a:gd name="T2" fmla="*/ 11 w 22"/>
                  <a:gd name="T3" fmla="*/ 24 h 24"/>
                  <a:gd name="T4" fmla="*/ 0 w 22"/>
                  <a:gd name="T5" fmla="*/ 12 h 24"/>
                  <a:gd name="T6" fmla="*/ 11 w 22"/>
                  <a:gd name="T7" fmla="*/ 0 h 24"/>
                  <a:gd name="T8" fmla="*/ 22 w 22"/>
                  <a:gd name="T9" fmla="*/ 12 h 24"/>
                  <a:gd name="T10" fmla="*/ 22 w 22"/>
                  <a:gd name="T11" fmla="*/ 14 h 24"/>
                  <a:gd name="T12" fmla="*/ 6 w 22"/>
                  <a:gd name="T13" fmla="*/ 14 h 24"/>
                  <a:gd name="T14" fmla="*/ 12 w 22"/>
                  <a:gd name="T15" fmla="*/ 19 h 24"/>
                  <a:gd name="T16" fmla="*/ 17 w 22"/>
                  <a:gd name="T17" fmla="*/ 16 h 24"/>
                  <a:gd name="T18" fmla="*/ 22 w 22"/>
                  <a:gd name="T19" fmla="*/ 17 h 24"/>
                  <a:gd name="T20" fmla="*/ 16 w 22"/>
                  <a:gd name="T21" fmla="*/ 10 h 24"/>
                  <a:gd name="T22" fmla="*/ 11 w 22"/>
                  <a:gd name="T23" fmla="*/ 5 h 24"/>
                  <a:gd name="T24" fmla="*/ 6 w 22"/>
                  <a:gd name="T25" fmla="*/ 10 h 24"/>
                  <a:gd name="T26" fmla="*/ 16 w 22"/>
                  <a:gd name="T27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4">
                    <a:moveTo>
                      <a:pt x="22" y="17"/>
                    </a:moveTo>
                    <a:cubicBezTo>
                      <a:pt x="21" y="21"/>
                      <a:pt x="17" y="24"/>
                      <a:pt x="11" y="24"/>
                    </a:cubicBezTo>
                    <a:cubicBezTo>
                      <a:pt x="5" y="24"/>
                      <a:pt x="0" y="20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8" y="0"/>
                      <a:pt x="22" y="5"/>
                      <a:pt x="22" y="12"/>
                    </a:cubicBezTo>
                    <a:cubicBezTo>
                      <a:pt x="22" y="13"/>
                      <a:pt x="22" y="14"/>
                      <a:pt x="22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7"/>
                      <a:pt x="8" y="19"/>
                      <a:pt x="12" y="19"/>
                    </a:cubicBezTo>
                    <a:cubicBezTo>
                      <a:pt x="14" y="19"/>
                      <a:pt x="16" y="18"/>
                      <a:pt x="17" y="16"/>
                    </a:cubicBezTo>
                    <a:lnTo>
                      <a:pt x="22" y="17"/>
                    </a:lnTo>
                    <a:close/>
                    <a:moveTo>
                      <a:pt x="16" y="10"/>
                    </a:moveTo>
                    <a:cubicBezTo>
                      <a:pt x="16" y="7"/>
                      <a:pt x="15" y="5"/>
                      <a:pt x="11" y="5"/>
                    </a:cubicBezTo>
                    <a:cubicBezTo>
                      <a:pt x="8" y="5"/>
                      <a:pt x="6" y="8"/>
                      <a:pt x="6" y="10"/>
                    </a:cubicBezTo>
                    <a:lnTo>
                      <a:pt x="16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5" name="Freeform 20"/>
              <p:cNvSpPr>
                <a:spLocks noEditPoints="1"/>
              </p:cNvSpPr>
              <p:nvPr userDrawn="1"/>
            </p:nvSpPr>
            <p:spPr bwMode="auto">
              <a:xfrm>
                <a:off x="14736763" y="4741863"/>
                <a:ext cx="833438" cy="1190625"/>
              </a:xfrm>
              <a:custGeom>
                <a:avLst/>
                <a:gdLst>
                  <a:gd name="T0" fmla="*/ 24 w 24"/>
                  <a:gd name="T1" fmla="*/ 30 h 34"/>
                  <a:gd name="T2" fmla="*/ 24 w 24"/>
                  <a:gd name="T3" fmla="*/ 34 h 34"/>
                  <a:gd name="T4" fmla="*/ 18 w 24"/>
                  <a:gd name="T5" fmla="*/ 34 h 34"/>
                  <a:gd name="T6" fmla="*/ 18 w 24"/>
                  <a:gd name="T7" fmla="*/ 31 h 34"/>
                  <a:gd name="T8" fmla="*/ 12 w 24"/>
                  <a:gd name="T9" fmla="*/ 34 h 34"/>
                  <a:gd name="T10" fmla="*/ 0 w 24"/>
                  <a:gd name="T11" fmla="*/ 22 h 34"/>
                  <a:gd name="T12" fmla="*/ 11 w 24"/>
                  <a:gd name="T13" fmla="*/ 10 h 34"/>
                  <a:gd name="T14" fmla="*/ 18 w 24"/>
                  <a:gd name="T15" fmla="*/ 13 h 34"/>
                  <a:gd name="T16" fmla="*/ 18 w 24"/>
                  <a:gd name="T17" fmla="*/ 0 h 34"/>
                  <a:gd name="T18" fmla="*/ 24 w 24"/>
                  <a:gd name="T19" fmla="*/ 0 h 34"/>
                  <a:gd name="T20" fmla="*/ 24 w 24"/>
                  <a:gd name="T21" fmla="*/ 30 h 34"/>
                  <a:gd name="T22" fmla="*/ 12 w 24"/>
                  <a:gd name="T23" fmla="*/ 29 h 34"/>
                  <a:gd name="T24" fmla="*/ 18 w 24"/>
                  <a:gd name="T25" fmla="*/ 22 h 34"/>
                  <a:gd name="T26" fmla="*/ 12 w 24"/>
                  <a:gd name="T27" fmla="*/ 16 h 34"/>
                  <a:gd name="T28" fmla="*/ 7 w 24"/>
                  <a:gd name="T29" fmla="*/ 22 h 34"/>
                  <a:gd name="T30" fmla="*/ 12 w 24"/>
                  <a:gd name="T31" fmla="*/ 29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" h="34">
                    <a:moveTo>
                      <a:pt x="24" y="30"/>
                    </a:moveTo>
                    <a:cubicBezTo>
                      <a:pt x="24" y="31"/>
                      <a:pt x="24" y="33"/>
                      <a:pt x="24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8" y="33"/>
                      <a:pt x="18" y="32"/>
                      <a:pt x="18" y="31"/>
                    </a:cubicBezTo>
                    <a:cubicBezTo>
                      <a:pt x="17" y="33"/>
                      <a:pt x="15" y="34"/>
                      <a:pt x="12" y="34"/>
                    </a:cubicBezTo>
                    <a:cubicBezTo>
                      <a:pt x="5" y="34"/>
                      <a:pt x="0" y="29"/>
                      <a:pt x="0" y="22"/>
                    </a:cubicBezTo>
                    <a:cubicBezTo>
                      <a:pt x="0" y="15"/>
                      <a:pt x="5" y="10"/>
                      <a:pt x="11" y="10"/>
                    </a:cubicBezTo>
                    <a:cubicBezTo>
                      <a:pt x="15" y="10"/>
                      <a:pt x="17" y="12"/>
                      <a:pt x="18" y="13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30"/>
                    </a:lnTo>
                    <a:close/>
                    <a:moveTo>
                      <a:pt x="12" y="29"/>
                    </a:moveTo>
                    <a:cubicBezTo>
                      <a:pt x="15" y="29"/>
                      <a:pt x="18" y="26"/>
                      <a:pt x="18" y="22"/>
                    </a:cubicBezTo>
                    <a:cubicBezTo>
                      <a:pt x="18" y="18"/>
                      <a:pt x="15" y="16"/>
                      <a:pt x="12" y="16"/>
                    </a:cubicBezTo>
                    <a:cubicBezTo>
                      <a:pt x="9" y="16"/>
                      <a:pt x="7" y="18"/>
                      <a:pt x="7" y="22"/>
                    </a:cubicBezTo>
                    <a:cubicBezTo>
                      <a:pt x="7" y="26"/>
                      <a:pt x="9" y="29"/>
                      <a:pt x="12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6" name="Freeform 21"/>
              <p:cNvSpPr>
                <a:spLocks/>
              </p:cNvSpPr>
              <p:nvPr userDrawn="1"/>
            </p:nvSpPr>
            <p:spPr bwMode="auto">
              <a:xfrm>
                <a:off x="16057563" y="4881563"/>
                <a:ext cx="520700" cy="1050925"/>
              </a:xfrm>
              <a:custGeom>
                <a:avLst/>
                <a:gdLst>
                  <a:gd name="T0" fmla="*/ 10 w 15"/>
                  <a:gd name="T1" fmla="*/ 7 h 30"/>
                  <a:gd name="T2" fmla="*/ 15 w 15"/>
                  <a:gd name="T3" fmla="*/ 7 h 30"/>
                  <a:gd name="T4" fmla="*/ 15 w 15"/>
                  <a:gd name="T5" fmla="*/ 12 h 30"/>
                  <a:gd name="T6" fmla="*/ 10 w 15"/>
                  <a:gd name="T7" fmla="*/ 12 h 30"/>
                  <a:gd name="T8" fmla="*/ 10 w 15"/>
                  <a:gd name="T9" fmla="*/ 22 h 30"/>
                  <a:gd name="T10" fmla="*/ 13 w 15"/>
                  <a:gd name="T11" fmla="*/ 25 h 30"/>
                  <a:gd name="T12" fmla="*/ 15 w 15"/>
                  <a:gd name="T13" fmla="*/ 24 h 30"/>
                  <a:gd name="T14" fmla="*/ 15 w 15"/>
                  <a:gd name="T15" fmla="*/ 30 h 30"/>
                  <a:gd name="T16" fmla="*/ 11 w 15"/>
                  <a:gd name="T17" fmla="*/ 30 h 30"/>
                  <a:gd name="T18" fmla="*/ 4 w 15"/>
                  <a:gd name="T19" fmla="*/ 23 h 30"/>
                  <a:gd name="T20" fmla="*/ 4 w 15"/>
                  <a:gd name="T21" fmla="*/ 12 h 30"/>
                  <a:gd name="T22" fmla="*/ 0 w 15"/>
                  <a:gd name="T23" fmla="*/ 12 h 30"/>
                  <a:gd name="T24" fmla="*/ 0 w 15"/>
                  <a:gd name="T25" fmla="*/ 7 h 30"/>
                  <a:gd name="T26" fmla="*/ 1 w 15"/>
                  <a:gd name="T27" fmla="*/ 7 h 30"/>
                  <a:gd name="T28" fmla="*/ 5 w 15"/>
                  <a:gd name="T29" fmla="*/ 3 h 30"/>
                  <a:gd name="T30" fmla="*/ 5 w 15"/>
                  <a:gd name="T31" fmla="*/ 0 h 30"/>
                  <a:gd name="T32" fmla="*/ 10 w 15"/>
                  <a:gd name="T33" fmla="*/ 0 h 30"/>
                  <a:gd name="T34" fmla="*/ 10 w 15"/>
                  <a:gd name="T35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" h="30">
                    <a:moveTo>
                      <a:pt x="10" y="7"/>
                    </a:moveTo>
                    <a:cubicBezTo>
                      <a:pt x="15" y="7"/>
                      <a:pt x="15" y="7"/>
                      <a:pt x="15" y="7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4"/>
                      <a:pt x="11" y="25"/>
                      <a:pt x="13" y="25"/>
                    </a:cubicBezTo>
                    <a:cubicBezTo>
                      <a:pt x="14" y="25"/>
                      <a:pt x="15" y="24"/>
                      <a:pt x="15" y="24"/>
                    </a:cubicBezTo>
                    <a:cubicBezTo>
                      <a:pt x="15" y="30"/>
                      <a:pt x="15" y="30"/>
                      <a:pt x="15" y="30"/>
                    </a:cubicBezTo>
                    <a:cubicBezTo>
                      <a:pt x="14" y="30"/>
                      <a:pt x="13" y="30"/>
                      <a:pt x="11" y="30"/>
                    </a:cubicBezTo>
                    <a:cubicBezTo>
                      <a:pt x="7" y="30"/>
                      <a:pt x="4" y="27"/>
                      <a:pt x="4" y="23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4" y="7"/>
                      <a:pt x="5" y="5"/>
                      <a:pt x="5" y="3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7" name="Freeform 22"/>
              <p:cNvSpPr>
                <a:spLocks noEditPoints="1"/>
              </p:cNvSpPr>
              <p:nvPr userDrawn="1"/>
            </p:nvSpPr>
            <p:spPr bwMode="auto">
              <a:xfrm>
                <a:off x="16683038" y="5091113"/>
                <a:ext cx="833438" cy="841375"/>
              </a:xfrm>
              <a:custGeom>
                <a:avLst/>
                <a:gdLst>
                  <a:gd name="T0" fmla="*/ 24 w 24"/>
                  <a:gd name="T1" fmla="*/ 12 h 24"/>
                  <a:gd name="T2" fmla="*/ 12 w 24"/>
                  <a:gd name="T3" fmla="*/ 24 h 24"/>
                  <a:gd name="T4" fmla="*/ 0 w 24"/>
                  <a:gd name="T5" fmla="*/ 12 h 24"/>
                  <a:gd name="T6" fmla="*/ 12 w 24"/>
                  <a:gd name="T7" fmla="*/ 0 h 24"/>
                  <a:gd name="T8" fmla="*/ 24 w 24"/>
                  <a:gd name="T9" fmla="*/ 12 h 24"/>
                  <a:gd name="T10" fmla="*/ 18 w 24"/>
                  <a:gd name="T11" fmla="*/ 12 h 24"/>
                  <a:gd name="T12" fmla="*/ 12 w 24"/>
                  <a:gd name="T13" fmla="*/ 6 h 24"/>
                  <a:gd name="T14" fmla="*/ 6 w 24"/>
                  <a:gd name="T15" fmla="*/ 12 h 24"/>
                  <a:gd name="T16" fmla="*/ 12 w 24"/>
                  <a:gd name="T17" fmla="*/ 19 h 24"/>
                  <a:gd name="T18" fmla="*/ 18 w 24"/>
                  <a:gd name="T19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24" y="12"/>
                    </a:moveTo>
                    <a:cubicBezTo>
                      <a:pt x="24" y="19"/>
                      <a:pt x="19" y="24"/>
                      <a:pt x="12" y="24"/>
                    </a:cubicBezTo>
                    <a:cubicBezTo>
                      <a:pt x="5" y="24"/>
                      <a:pt x="0" y="19"/>
                      <a:pt x="0" y="12"/>
                    </a:cubicBezTo>
                    <a:cubicBezTo>
                      <a:pt x="0" y="5"/>
                      <a:pt x="5" y="0"/>
                      <a:pt x="12" y="0"/>
                    </a:cubicBezTo>
                    <a:cubicBezTo>
                      <a:pt x="19" y="0"/>
                      <a:pt x="24" y="5"/>
                      <a:pt x="24" y="12"/>
                    </a:cubicBezTo>
                    <a:close/>
                    <a:moveTo>
                      <a:pt x="18" y="12"/>
                    </a:moveTo>
                    <a:cubicBezTo>
                      <a:pt x="18" y="8"/>
                      <a:pt x="15" y="6"/>
                      <a:pt x="12" y="6"/>
                    </a:cubicBezTo>
                    <a:cubicBezTo>
                      <a:pt x="9" y="6"/>
                      <a:pt x="6" y="8"/>
                      <a:pt x="6" y="12"/>
                    </a:cubicBezTo>
                    <a:cubicBezTo>
                      <a:pt x="6" y="17"/>
                      <a:pt x="9" y="19"/>
                      <a:pt x="12" y="19"/>
                    </a:cubicBezTo>
                    <a:cubicBezTo>
                      <a:pt x="15" y="19"/>
                      <a:pt x="18" y="17"/>
                      <a:pt x="1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8" name="Freeform 23"/>
              <p:cNvSpPr>
                <a:spLocks/>
              </p:cNvSpPr>
              <p:nvPr userDrawn="1"/>
            </p:nvSpPr>
            <p:spPr bwMode="auto">
              <a:xfrm>
                <a:off x="18003838" y="4776788"/>
                <a:ext cx="728663" cy="1155700"/>
              </a:xfrm>
              <a:custGeom>
                <a:avLst/>
                <a:gdLst>
                  <a:gd name="T0" fmla="*/ 0 w 459"/>
                  <a:gd name="T1" fmla="*/ 728 h 728"/>
                  <a:gd name="T2" fmla="*/ 0 w 459"/>
                  <a:gd name="T3" fmla="*/ 0 h 728"/>
                  <a:gd name="T4" fmla="*/ 131 w 459"/>
                  <a:gd name="T5" fmla="*/ 0 h 728"/>
                  <a:gd name="T6" fmla="*/ 131 w 459"/>
                  <a:gd name="T7" fmla="*/ 596 h 728"/>
                  <a:gd name="T8" fmla="*/ 459 w 459"/>
                  <a:gd name="T9" fmla="*/ 596 h 728"/>
                  <a:gd name="T10" fmla="*/ 459 w 459"/>
                  <a:gd name="T11" fmla="*/ 728 h 728"/>
                  <a:gd name="T12" fmla="*/ 0 w 459"/>
                  <a:gd name="T13" fmla="*/ 728 h 7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9" h="728">
                    <a:moveTo>
                      <a:pt x="0" y="728"/>
                    </a:moveTo>
                    <a:lnTo>
                      <a:pt x="0" y="0"/>
                    </a:lnTo>
                    <a:lnTo>
                      <a:pt x="131" y="0"/>
                    </a:lnTo>
                    <a:lnTo>
                      <a:pt x="131" y="596"/>
                    </a:lnTo>
                    <a:lnTo>
                      <a:pt x="459" y="596"/>
                    </a:lnTo>
                    <a:lnTo>
                      <a:pt x="459" y="728"/>
                    </a:lnTo>
                    <a:lnTo>
                      <a:pt x="0" y="7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39" name="Freeform 24"/>
              <p:cNvSpPr>
                <a:spLocks noEditPoints="1"/>
              </p:cNvSpPr>
              <p:nvPr userDrawn="1"/>
            </p:nvSpPr>
            <p:spPr bwMode="auto">
              <a:xfrm>
                <a:off x="18837276" y="4705350"/>
                <a:ext cx="277813" cy="1227138"/>
              </a:xfrm>
              <a:custGeom>
                <a:avLst/>
                <a:gdLst>
                  <a:gd name="T0" fmla="*/ 4 w 8"/>
                  <a:gd name="T1" fmla="*/ 0 h 35"/>
                  <a:gd name="T2" fmla="*/ 8 w 8"/>
                  <a:gd name="T3" fmla="*/ 4 h 35"/>
                  <a:gd name="T4" fmla="*/ 4 w 8"/>
                  <a:gd name="T5" fmla="*/ 8 h 35"/>
                  <a:gd name="T6" fmla="*/ 0 w 8"/>
                  <a:gd name="T7" fmla="*/ 4 h 35"/>
                  <a:gd name="T8" fmla="*/ 4 w 8"/>
                  <a:gd name="T9" fmla="*/ 0 h 35"/>
                  <a:gd name="T10" fmla="*/ 1 w 8"/>
                  <a:gd name="T11" fmla="*/ 35 h 35"/>
                  <a:gd name="T12" fmla="*/ 1 w 8"/>
                  <a:gd name="T13" fmla="*/ 12 h 35"/>
                  <a:gd name="T14" fmla="*/ 7 w 8"/>
                  <a:gd name="T15" fmla="*/ 12 h 35"/>
                  <a:gd name="T16" fmla="*/ 7 w 8"/>
                  <a:gd name="T17" fmla="*/ 35 h 35"/>
                  <a:gd name="T18" fmla="*/ 1 w 8"/>
                  <a:gd name="T1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5">
                    <a:moveTo>
                      <a:pt x="4" y="0"/>
                    </a:moveTo>
                    <a:cubicBezTo>
                      <a:pt x="6" y="0"/>
                      <a:pt x="8" y="2"/>
                      <a:pt x="8" y="4"/>
                    </a:cubicBezTo>
                    <a:cubicBezTo>
                      <a:pt x="8" y="6"/>
                      <a:pt x="6" y="8"/>
                      <a:pt x="4" y="8"/>
                    </a:cubicBezTo>
                    <a:cubicBezTo>
                      <a:pt x="2" y="8"/>
                      <a:pt x="0" y="6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lose/>
                    <a:moveTo>
                      <a:pt x="1" y="35"/>
                    </a:moveTo>
                    <a:cubicBezTo>
                      <a:pt x="1" y="12"/>
                      <a:pt x="1" y="12"/>
                      <a:pt x="1" y="12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35"/>
                      <a:pt x="7" y="35"/>
                      <a:pt x="7" y="35"/>
                    </a:cubicBezTo>
                    <a:lnTo>
                      <a:pt x="1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0" name="Freeform 25"/>
              <p:cNvSpPr>
                <a:spLocks/>
              </p:cNvSpPr>
              <p:nvPr userDrawn="1"/>
            </p:nvSpPr>
            <p:spPr bwMode="auto">
              <a:xfrm>
                <a:off x="19254788" y="4741863"/>
                <a:ext cx="520700" cy="1190625"/>
              </a:xfrm>
              <a:custGeom>
                <a:avLst/>
                <a:gdLst>
                  <a:gd name="T0" fmla="*/ 10 w 15"/>
                  <a:gd name="T1" fmla="*/ 8 h 34"/>
                  <a:gd name="T2" fmla="*/ 10 w 15"/>
                  <a:gd name="T3" fmla="*/ 11 h 34"/>
                  <a:gd name="T4" fmla="*/ 15 w 15"/>
                  <a:gd name="T5" fmla="*/ 11 h 34"/>
                  <a:gd name="T6" fmla="*/ 15 w 15"/>
                  <a:gd name="T7" fmla="*/ 16 h 34"/>
                  <a:gd name="T8" fmla="*/ 10 w 15"/>
                  <a:gd name="T9" fmla="*/ 16 h 34"/>
                  <a:gd name="T10" fmla="*/ 10 w 15"/>
                  <a:gd name="T11" fmla="*/ 34 h 34"/>
                  <a:gd name="T12" fmla="*/ 4 w 15"/>
                  <a:gd name="T13" fmla="*/ 34 h 34"/>
                  <a:gd name="T14" fmla="*/ 4 w 15"/>
                  <a:gd name="T15" fmla="*/ 16 h 34"/>
                  <a:gd name="T16" fmla="*/ 0 w 15"/>
                  <a:gd name="T17" fmla="*/ 16 h 34"/>
                  <a:gd name="T18" fmla="*/ 0 w 15"/>
                  <a:gd name="T19" fmla="*/ 11 h 34"/>
                  <a:gd name="T20" fmla="*/ 4 w 15"/>
                  <a:gd name="T21" fmla="*/ 11 h 34"/>
                  <a:gd name="T22" fmla="*/ 4 w 15"/>
                  <a:gd name="T23" fmla="*/ 8 h 34"/>
                  <a:gd name="T24" fmla="*/ 12 w 15"/>
                  <a:gd name="T25" fmla="*/ 0 h 34"/>
                  <a:gd name="T26" fmla="*/ 15 w 15"/>
                  <a:gd name="T27" fmla="*/ 0 h 34"/>
                  <a:gd name="T28" fmla="*/ 15 w 15"/>
                  <a:gd name="T29" fmla="*/ 5 h 34"/>
                  <a:gd name="T30" fmla="*/ 13 w 15"/>
                  <a:gd name="T31" fmla="*/ 5 h 34"/>
                  <a:gd name="T32" fmla="*/ 10 w 15"/>
                  <a:gd name="T33" fmla="*/ 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34">
                    <a:moveTo>
                      <a:pt x="10" y="8"/>
                    </a:moveTo>
                    <a:cubicBezTo>
                      <a:pt x="10" y="11"/>
                      <a:pt x="10" y="11"/>
                      <a:pt x="10" y="11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0" y="16"/>
                      <a:pt x="10" y="16"/>
                      <a:pt x="10" y="16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3"/>
                      <a:pt x="7" y="0"/>
                      <a:pt x="12" y="0"/>
                    </a:cubicBezTo>
                    <a:cubicBezTo>
                      <a:pt x="13" y="0"/>
                      <a:pt x="15" y="0"/>
                      <a:pt x="15" y="0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4" y="5"/>
                      <a:pt x="13" y="5"/>
                    </a:cubicBezTo>
                    <a:cubicBezTo>
                      <a:pt x="12" y="5"/>
                      <a:pt x="10" y="6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1" name="Freeform 26"/>
              <p:cNvSpPr>
                <a:spLocks noEditPoints="1"/>
              </p:cNvSpPr>
              <p:nvPr userDrawn="1"/>
            </p:nvSpPr>
            <p:spPr bwMode="auto">
              <a:xfrm>
                <a:off x="19845338" y="5091113"/>
                <a:ext cx="763588" cy="841375"/>
              </a:xfrm>
              <a:custGeom>
                <a:avLst/>
                <a:gdLst>
                  <a:gd name="T0" fmla="*/ 22 w 22"/>
                  <a:gd name="T1" fmla="*/ 17 h 24"/>
                  <a:gd name="T2" fmla="*/ 12 w 22"/>
                  <a:gd name="T3" fmla="*/ 24 h 24"/>
                  <a:gd name="T4" fmla="*/ 0 w 22"/>
                  <a:gd name="T5" fmla="*/ 12 h 24"/>
                  <a:gd name="T6" fmla="*/ 11 w 22"/>
                  <a:gd name="T7" fmla="*/ 0 h 24"/>
                  <a:gd name="T8" fmla="*/ 22 w 22"/>
                  <a:gd name="T9" fmla="*/ 12 h 24"/>
                  <a:gd name="T10" fmla="*/ 22 w 22"/>
                  <a:gd name="T11" fmla="*/ 14 h 24"/>
                  <a:gd name="T12" fmla="*/ 6 w 22"/>
                  <a:gd name="T13" fmla="*/ 14 h 24"/>
                  <a:gd name="T14" fmla="*/ 12 w 22"/>
                  <a:gd name="T15" fmla="*/ 19 h 24"/>
                  <a:gd name="T16" fmla="*/ 17 w 22"/>
                  <a:gd name="T17" fmla="*/ 16 h 24"/>
                  <a:gd name="T18" fmla="*/ 22 w 22"/>
                  <a:gd name="T19" fmla="*/ 17 h 24"/>
                  <a:gd name="T20" fmla="*/ 16 w 22"/>
                  <a:gd name="T21" fmla="*/ 10 h 24"/>
                  <a:gd name="T22" fmla="*/ 11 w 22"/>
                  <a:gd name="T23" fmla="*/ 5 h 24"/>
                  <a:gd name="T24" fmla="*/ 6 w 22"/>
                  <a:gd name="T25" fmla="*/ 10 h 24"/>
                  <a:gd name="T26" fmla="*/ 16 w 22"/>
                  <a:gd name="T27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24">
                    <a:moveTo>
                      <a:pt x="22" y="17"/>
                    </a:moveTo>
                    <a:cubicBezTo>
                      <a:pt x="21" y="21"/>
                      <a:pt x="17" y="24"/>
                      <a:pt x="12" y="24"/>
                    </a:cubicBezTo>
                    <a:cubicBezTo>
                      <a:pt x="5" y="24"/>
                      <a:pt x="0" y="20"/>
                      <a:pt x="0" y="12"/>
                    </a:cubicBezTo>
                    <a:cubicBezTo>
                      <a:pt x="0" y="5"/>
                      <a:pt x="5" y="0"/>
                      <a:pt x="11" y="0"/>
                    </a:cubicBezTo>
                    <a:cubicBezTo>
                      <a:pt x="18" y="0"/>
                      <a:pt x="22" y="5"/>
                      <a:pt x="22" y="12"/>
                    </a:cubicBezTo>
                    <a:cubicBezTo>
                      <a:pt x="22" y="13"/>
                      <a:pt x="22" y="14"/>
                      <a:pt x="22" y="14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6" y="17"/>
                      <a:pt x="8" y="19"/>
                      <a:pt x="12" y="19"/>
                    </a:cubicBezTo>
                    <a:cubicBezTo>
                      <a:pt x="14" y="19"/>
                      <a:pt x="16" y="18"/>
                      <a:pt x="17" y="16"/>
                    </a:cubicBezTo>
                    <a:lnTo>
                      <a:pt x="22" y="17"/>
                    </a:lnTo>
                    <a:close/>
                    <a:moveTo>
                      <a:pt x="16" y="10"/>
                    </a:moveTo>
                    <a:cubicBezTo>
                      <a:pt x="16" y="7"/>
                      <a:pt x="15" y="5"/>
                      <a:pt x="11" y="5"/>
                    </a:cubicBezTo>
                    <a:cubicBezTo>
                      <a:pt x="8" y="5"/>
                      <a:pt x="6" y="8"/>
                      <a:pt x="6" y="10"/>
                    </a:cubicBezTo>
                    <a:lnTo>
                      <a:pt x="16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2" name="Oval 27"/>
              <p:cNvSpPr>
                <a:spLocks noChangeArrowheads="1"/>
              </p:cNvSpPr>
              <p:nvPr userDrawn="1"/>
            </p:nvSpPr>
            <p:spPr bwMode="auto">
              <a:xfrm>
                <a:off x="20748626" y="5653088"/>
                <a:ext cx="312738" cy="2794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4" name="Freeform 28"/>
              <p:cNvSpPr>
                <a:spLocks/>
              </p:cNvSpPr>
              <p:nvPr userDrawn="1"/>
            </p:nvSpPr>
            <p:spPr bwMode="auto">
              <a:xfrm>
                <a:off x="21409026" y="4776788"/>
                <a:ext cx="382588" cy="349250"/>
              </a:xfrm>
              <a:custGeom>
                <a:avLst/>
                <a:gdLst>
                  <a:gd name="T0" fmla="*/ 0 w 241"/>
                  <a:gd name="T1" fmla="*/ 220 h 220"/>
                  <a:gd name="T2" fmla="*/ 0 w 241"/>
                  <a:gd name="T3" fmla="*/ 0 h 220"/>
                  <a:gd name="T4" fmla="*/ 44 w 241"/>
                  <a:gd name="T5" fmla="*/ 0 h 220"/>
                  <a:gd name="T6" fmla="*/ 109 w 241"/>
                  <a:gd name="T7" fmla="*/ 154 h 220"/>
                  <a:gd name="T8" fmla="*/ 175 w 241"/>
                  <a:gd name="T9" fmla="*/ 0 h 220"/>
                  <a:gd name="T10" fmla="*/ 241 w 241"/>
                  <a:gd name="T11" fmla="*/ 0 h 220"/>
                  <a:gd name="T12" fmla="*/ 241 w 241"/>
                  <a:gd name="T13" fmla="*/ 220 h 220"/>
                  <a:gd name="T14" fmla="*/ 197 w 241"/>
                  <a:gd name="T15" fmla="*/ 220 h 220"/>
                  <a:gd name="T16" fmla="*/ 197 w 241"/>
                  <a:gd name="T17" fmla="*/ 66 h 220"/>
                  <a:gd name="T18" fmla="*/ 131 w 241"/>
                  <a:gd name="T19" fmla="*/ 220 h 220"/>
                  <a:gd name="T20" fmla="*/ 109 w 241"/>
                  <a:gd name="T21" fmla="*/ 220 h 220"/>
                  <a:gd name="T22" fmla="*/ 44 w 241"/>
                  <a:gd name="T23" fmla="*/ 66 h 220"/>
                  <a:gd name="T24" fmla="*/ 44 w 241"/>
                  <a:gd name="T25" fmla="*/ 220 h 220"/>
                  <a:gd name="T26" fmla="*/ 0 w 241"/>
                  <a:gd name="T27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41" h="220">
                    <a:moveTo>
                      <a:pt x="0" y="220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109" y="154"/>
                    </a:lnTo>
                    <a:lnTo>
                      <a:pt x="175" y="0"/>
                    </a:lnTo>
                    <a:lnTo>
                      <a:pt x="241" y="0"/>
                    </a:lnTo>
                    <a:lnTo>
                      <a:pt x="241" y="220"/>
                    </a:lnTo>
                    <a:lnTo>
                      <a:pt x="197" y="220"/>
                    </a:lnTo>
                    <a:lnTo>
                      <a:pt x="197" y="66"/>
                    </a:lnTo>
                    <a:lnTo>
                      <a:pt x="131" y="220"/>
                    </a:lnTo>
                    <a:lnTo>
                      <a:pt x="109" y="220"/>
                    </a:lnTo>
                    <a:lnTo>
                      <a:pt x="44" y="66"/>
                    </a:lnTo>
                    <a:lnTo>
                      <a:pt x="44" y="220"/>
                    </a:lnTo>
                    <a:lnTo>
                      <a:pt x="0" y="2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45" name="Freeform 29"/>
              <p:cNvSpPr>
                <a:spLocks/>
              </p:cNvSpPr>
              <p:nvPr userDrawn="1"/>
            </p:nvSpPr>
            <p:spPr bwMode="auto">
              <a:xfrm>
                <a:off x="21061363" y="4776788"/>
                <a:ext cx="277813" cy="349250"/>
              </a:xfrm>
              <a:custGeom>
                <a:avLst/>
                <a:gdLst>
                  <a:gd name="T0" fmla="*/ 0 w 175"/>
                  <a:gd name="T1" fmla="*/ 0 h 220"/>
                  <a:gd name="T2" fmla="*/ 175 w 175"/>
                  <a:gd name="T3" fmla="*/ 0 h 220"/>
                  <a:gd name="T4" fmla="*/ 175 w 175"/>
                  <a:gd name="T5" fmla="*/ 44 h 220"/>
                  <a:gd name="T6" fmla="*/ 110 w 175"/>
                  <a:gd name="T7" fmla="*/ 44 h 220"/>
                  <a:gd name="T8" fmla="*/ 110 w 175"/>
                  <a:gd name="T9" fmla="*/ 220 h 220"/>
                  <a:gd name="T10" fmla="*/ 66 w 175"/>
                  <a:gd name="T11" fmla="*/ 220 h 220"/>
                  <a:gd name="T12" fmla="*/ 66 w 175"/>
                  <a:gd name="T13" fmla="*/ 44 h 220"/>
                  <a:gd name="T14" fmla="*/ 0 w 175"/>
                  <a:gd name="T15" fmla="*/ 44 h 220"/>
                  <a:gd name="T16" fmla="*/ 0 w 175"/>
                  <a:gd name="T17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5" h="220">
                    <a:moveTo>
                      <a:pt x="0" y="0"/>
                    </a:moveTo>
                    <a:lnTo>
                      <a:pt x="175" y="0"/>
                    </a:lnTo>
                    <a:lnTo>
                      <a:pt x="175" y="44"/>
                    </a:lnTo>
                    <a:lnTo>
                      <a:pt x="110" y="44"/>
                    </a:lnTo>
                    <a:lnTo>
                      <a:pt x="110" y="220"/>
                    </a:lnTo>
                    <a:lnTo>
                      <a:pt x="66" y="220"/>
                    </a:lnTo>
                    <a:lnTo>
                      <a:pt x="66" y="44"/>
                    </a:ln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13" name="Freeform 5"/>
            <p:cNvSpPr>
              <a:spLocks noEditPoints="1"/>
            </p:cNvSpPr>
            <p:nvPr userDrawn="1"/>
          </p:nvSpPr>
          <p:spPr bwMode="auto">
            <a:xfrm>
              <a:off x="381000" y="384048"/>
              <a:ext cx="750655" cy="400941"/>
            </a:xfrm>
            <a:custGeom>
              <a:avLst/>
              <a:gdLst>
                <a:gd name="T0" fmla="*/ 134 w 170"/>
                <a:gd name="T1" fmla="*/ 3 h 90"/>
                <a:gd name="T2" fmla="*/ 122 w 170"/>
                <a:gd name="T3" fmla="*/ 52 h 90"/>
                <a:gd name="T4" fmla="*/ 109 w 170"/>
                <a:gd name="T5" fmla="*/ 3 h 90"/>
                <a:gd name="T6" fmla="*/ 74 w 170"/>
                <a:gd name="T7" fmla="*/ 3 h 90"/>
                <a:gd name="T8" fmla="*/ 74 w 170"/>
                <a:gd name="T9" fmla="*/ 21 h 90"/>
                <a:gd name="T10" fmla="*/ 40 w 170"/>
                <a:gd name="T11" fmla="*/ 1 h 90"/>
                <a:gd name="T12" fmla="*/ 4 w 170"/>
                <a:gd name="T13" fmla="*/ 31 h 90"/>
                <a:gd name="T14" fmla="*/ 28 w 170"/>
                <a:gd name="T15" fmla="*/ 31 h 90"/>
                <a:gd name="T16" fmla="*/ 39 w 170"/>
                <a:gd name="T17" fmla="*/ 20 h 90"/>
                <a:gd name="T18" fmla="*/ 50 w 170"/>
                <a:gd name="T19" fmla="*/ 28 h 90"/>
                <a:gd name="T20" fmla="*/ 39 w 170"/>
                <a:gd name="T21" fmla="*/ 35 h 90"/>
                <a:gd name="T22" fmla="*/ 31 w 170"/>
                <a:gd name="T23" fmla="*/ 35 h 90"/>
                <a:gd name="T24" fmla="*/ 31 w 170"/>
                <a:gd name="T25" fmla="*/ 51 h 90"/>
                <a:gd name="T26" fmla="*/ 38 w 170"/>
                <a:gd name="T27" fmla="*/ 51 h 90"/>
                <a:gd name="T28" fmla="*/ 48 w 170"/>
                <a:gd name="T29" fmla="*/ 60 h 90"/>
                <a:gd name="T30" fmla="*/ 38 w 170"/>
                <a:gd name="T31" fmla="*/ 70 h 90"/>
                <a:gd name="T32" fmla="*/ 25 w 170"/>
                <a:gd name="T33" fmla="*/ 54 h 90"/>
                <a:gd name="T34" fmla="*/ 1 w 170"/>
                <a:gd name="T35" fmla="*/ 54 h 90"/>
                <a:gd name="T36" fmla="*/ 38 w 170"/>
                <a:gd name="T37" fmla="*/ 90 h 90"/>
                <a:gd name="T38" fmla="*/ 74 w 170"/>
                <a:gd name="T39" fmla="*/ 71 h 90"/>
                <a:gd name="T40" fmla="*/ 74 w 170"/>
                <a:gd name="T41" fmla="*/ 88 h 90"/>
                <a:gd name="T42" fmla="*/ 98 w 170"/>
                <a:gd name="T43" fmla="*/ 88 h 90"/>
                <a:gd name="T44" fmla="*/ 98 w 170"/>
                <a:gd name="T45" fmla="*/ 34 h 90"/>
                <a:gd name="T46" fmla="*/ 111 w 170"/>
                <a:gd name="T47" fmla="*/ 88 h 90"/>
                <a:gd name="T48" fmla="*/ 132 w 170"/>
                <a:gd name="T49" fmla="*/ 88 h 90"/>
                <a:gd name="T50" fmla="*/ 146 w 170"/>
                <a:gd name="T51" fmla="*/ 34 h 90"/>
                <a:gd name="T52" fmla="*/ 146 w 170"/>
                <a:gd name="T53" fmla="*/ 88 h 90"/>
                <a:gd name="T54" fmla="*/ 170 w 170"/>
                <a:gd name="T55" fmla="*/ 88 h 90"/>
                <a:gd name="T56" fmla="*/ 170 w 170"/>
                <a:gd name="T57" fmla="*/ 3 h 90"/>
                <a:gd name="T58" fmla="*/ 134 w 170"/>
                <a:gd name="T59" fmla="*/ 3 h 90"/>
                <a:gd name="T60" fmla="*/ 74 w 170"/>
                <a:gd name="T61" fmla="*/ 52 h 90"/>
                <a:gd name="T62" fmla="*/ 64 w 170"/>
                <a:gd name="T63" fmla="*/ 42 h 90"/>
                <a:gd name="T64" fmla="*/ 74 w 170"/>
                <a:gd name="T65" fmla="*/ 31 h 90"/>
                <a:gd name="T66" fmla="*/ 74 w 170"/>
                <a:gd name="T67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0" h="90">
                  <a:moveTo>
                    <a:pt x="134" y="3"/>
                  </a:moveTo>
                  <a:cubicBezTo>
                    <a:pt x="122" y="52"/>
                    <a:pt x="122" y="52"/>
                    <a:pt x="122" y="52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69" y="5"/>
                    <a:pt x="54" y="1"/>
                    <a:pt x="40" y="1"/>
                  </a:cubicBezTo>
                  <a:cubicBezTo>
                    <a:pt x="23" y="0"/>
                    <a:pt x="5" y="8"/>
                    <a:pt x="4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24"/>
                    <a:pt x="33" y="20"/>
                    <a:pt x="39" y="20"/>
                  </a:cubicBezTo>
                  <a:cubicBezTo>
                    <a:pt x="46" y="20"/>
                    <a:pt x="50" y="23"/>
                    <a:pt x="50" y="28"/>
                  </a:cubicBezTo>
                  <a:cubicBezTo>
                    <a:pt x="49" y="32"/>
                    <a:pt x="47" y="35"/>
                    <a:pt x="39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42" y="51"/>
                    <a:pt x="48" y="54"/>
                    <a:pt x="48" y="60"/>
                  </a:cubicBezTo>
                  <a:cubicBezTo>
                    <a:pt x="49" y="67"/>
                    <a:pt x="44" y="70"/>
                    <a:pt x="38" y="70"/>
                  </a:cubicBezTo>
                  <a:cubicBezTo>
                    <a:pt x="27" y="69"/>
                    <a:pt x="25" y="61"/>
                    <a:pt x="25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9"/>
                    <a:pt x="0" y="90"/>
                    <a:pt x="38" y="90"/>
                  </a:cubicBezTo>
                  <a:cubicBezTo>
                    <a:pt x="57" y="90"/>
                    <a:pt x="70" y="82"/>
                    <a:pt x="74" y="71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32" y="88"/>
                    <a:pt x="132" y="88"/>
                    <a:pt x="132" y="88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70" y="88"/>
                    <a:pt x="170" y="88"/>
                    <a:pt x="170" y="88"/>
                  </a:cubicBezTo>
                  <a:cubicBezTo>
                    <a:pt x="170" y="3"/>
                    <a:pt x="170" y="3"/>
                    <a:pt x="170" y="3"/>
                  </a:cubicBezTo>
                  <a:lnTo>
                    <a:pt x="134" y="3"/>
                  </a:lnTo>
                  <a:close/>
                  <a:moveTo>
                    <a:pt x="74" y="52"/>
                  </a:moveTo>
                  <a:cubicBezTo>
                    <a:pt x="71" y="46"/>
                    <a:pt x="66" y="43"/>
                    <a:pt x="64" y="42"/>
                  </a:cubicBezTo>
                  <a:cubicBezTo>
                    <a:pt x="69" y="40"/>
                    <a:pt x="72" y="37"/>
                    <a:pt x="74" y="31"/>
                  </a:cubicBezTo>
                  <a:lnTo>
                    <a:pt x="74" y="52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57231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401638" marR="0" indent="-2190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1448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Gradien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4349EE-095D-4F41-A12A-9F3D57FC2C79}"/>
              </a:ext>
            </a:extLst>
          </p:cNvPr>
          <p:cNvSpPr/>
          <p:nvPr userDrawn="1"/>
        </p:nvSpPr>
        <p:spPr>
          <a:xfrm>
            <a:off x="-2" y="-2"/>
            <a:ext cx="12192001" cy="692912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28CD6D42-3E48-3442-8BD1-469134AE2A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04" y="2743200"/>
            <a:ext cx="8291512" cy="101441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4027358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Color_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/>
          <p:cNvSpPr/>
          <p:nvPr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 27"/>
          <p:cNvSpPr/>
          <p:nvPr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9" name="Freeform 28"/>
          <p:cNvSpPr/>
          <p:nvPr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34349EE-095D-4F41-A12A-9F3D57FC2C79}"/>
              </a:ext>
            </a:extLst>
          </p:cNvPr>
          <p:cNvSpPr/>
          <p:nvPr userDrawn="1"/>
        </p:nvSpPr>
        <p:spPr>
          <a:xfrm>
            <a:off x="-2" y="-2"/>
            <a:ext cx="12192001" cy="69291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FB9BB99E-0EE0-DA49-8096-DEC2AA0FC1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04" y="2743200"/>
            <a:ext cx="8291512" cy="101441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204546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Me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-9845" y="-7221"/>
            <a:ext cx="12210731" cy="6884165"/>
            <a:chOff x="-9845" y="-7221"/>
            <a:chExt cx="12210731" cy="6884165"/>
          </a:xfrm>
        </p:grpSpPr>
        <p:sp>
          <p:nvSpPr>
            <p:cNvPr id="6" name="Freeform 5"/>
            <p:cNvSpPr/>
            <p:nvPr/>
          </p:nvSpPr>
          <p:spPr>
            <a:xfrm>
              <a:off x="-6314" y="3602940"/>
              <a:ext cx="3593122" cy="3267566"/>
            </a:xfrm>
            <a:custGeom>
              <a:avLst/>
              <a:gdLst>
                <a:gd name="connsiteX0" fmla="*/ 1392248 w 3580909"/>
                <a:gd name="connsiteY0" fmla="*/ 0 h 3209249"/>
                <a:gd name="connsiteX1" fmla="*/ 0 w 3580909"/>
                <a:gd name="connsiteY1" fmla="*/ 3209249 h 3209249"/>
                <a:gd name="connsiteX2" fmla="*/ 3580909 w 3580909"/>
                <a:gd name="connsiteY2" fmla="*/ 1215267 h 3209249"/>
                <a:gd name="connsiteX3" fmla="*/ 1392248 w 3580909"/>
                <a:gd name="connsiteY3" fmla="*/ 0 h 3209249"/>
                <a:gd name="connsiteX0" fmla="*/ 1406371 w 3595032"/>
                <a:gd name="connsiteY0" fmla="*/ 0 h 3209249"/>
                <a:gd name="connsiteX1" fmla="*/ 0 w 3595032"/>
                <a:gd name="connsiteY1" fmla="*/ 3209249 h 3209249"/>
                <a:gd name="connsiteX2" fmla="*/ 3595032 w 3595032"/>
                <a:gd name="connsiteY2" fmla="*/ 1215267 h 3209249"/>
                <a:gd name="connsiteX3" fmla="*/ 1406371 w 3595032"/>
                <a:gd name="connsiteY3" fmla="*/ 0 h 3209249"/>
                <a:gd name="connsiteX0" fmla="*/ 1399310 w 3587971"/>
                <a:gd name="connsiteY0" fmla="*/ 0 h 3209249"/>
                <a:gd name="connsiteX1" fmla="*/ 0 w 3587971"/>
                <a:gd name="connsiteY1" fmla="*/ 3209249 h 3209249"/>
                <a:gd name="connsiteX2" fmla="*/ 3587971 w 3587971"/>
                <a:gd name="connsiteY2" fmla="*/ 1215267 h 3209249"/>
                <a:gd name="connsiteX3" fmla="*/ 1399310 w 3587971"/>
                <a:gd name="connsiteY3" fmla="*/ 0 h 3209249"/>
                <a:gd name="connsiteX0" fmla="*/ 1399310 w 3587971"/>
                <a:gd name="connsiteY0" fmla="*/ 0 h 3252111"/>
                <a:gd name="connsiteX1" fmla="*/ 0 w 3587971"/>
                <a:gd name="connsiteY1" fmla="*/ 3252111 h 3252111"/>
                <a:gd name="connsiteX2" fmla="*/ 3587971 w 3587971"/>
                <a:gd name="connsiteY2" fmla="*/ 1258129 h 3252111"/>
                <a:gd name="connsiteX3" fmla="*/ 1399310 w 3587971"/>
                <a:gd name="connsiteY3" fmla="*/ 0 h 3252111"/>
                <a:gd name="connsiteX0" fmla="*/ 1396734 w 3585395"/>
                <a:gd name="connsiteY0" fmla="*/ 0 h 3264990"/>
                <a:gd name="connsiteX1" fmla="*/ 0 w 3585395"/>
                <a:gd name="connsiteY1" fmla="*/ 3264990 h 3264990"/>
                <a:gd name="connsiteX2" fmla="*/ 3585395 w 3585395"/>
                <a:gd name="connsiteY2" fmla="*/ 1258129 h 3264990"/>
                <a:gd name="connsiteX3" fmla="*/ 1396734 w 3585395"/>
                <a:gd name="connsiteY3" fmla="*/ 0 h 3264990"/>
                <a:gd name="connsiteX0" fmla="*/ 1404461 w 3593122"/>
                <a:gd name="connsiteY0" fmla="*/ 0 h 3267566"/>
                <a:gd name="connsiteX1" fmla="*/ 0 w 3593122"/>
                <a:gd name="connsiteY1" fmla="*/ 3267566 h 3267566"/>
                <a:gd name="connsiteX2" fmla="*/ 3593122 w 3593122"/>
                <a:gd name="connsiteY2" fmla="*/ 1258129 h 3267566"/>
                <a:gd name="connsiteX3" fmla="*/ 1404461 w 3593122"/>
                <a:gd name="connsiteY3" fmla="*/ 0 h 3267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93122" h="3267566">
                  <a:moveTo>
                    <a:pt x="1404461" y="0"/>
                  </a:moveTo>
                  <a:lnTo>
                    <a:pt x="0" y="3267566"/>
                  </a:lnTo>
                  <a:lnTo>
                    <a:pt x="3593122" y="1258129"/>
                  </a:lnTo>
                  <a:lnTo>
                    <a:pt x="140446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1390330" y="1741468"/>
              <a:ext cx="2199979" cy="3164694"/>
            </a:xfrm>
            <a:custGeom>
              <a:avLst/>
              <a:gdLst>
                <a:gd name="connsiteX0" fmla="*/ 1739462 w 2186152"/>
                <a:gd name="connsiteY0" fmla="*/ 0 h 3095296"/>
                <a:gd name="connsiteX1" fmla="*/ 0 w 2186152"/>
                <a:gd name="connsiteY1" fmla="*/ 1891862 h 3095296"/>
                <a:gd name="connsiteX2" fmla="*/ 2186152 w 2186152"/>
                <a:gd name="connsiteY2" fmla="*/ 3095296 h 3095296"/>
                <a:gd name="connsiteX3" fmla="*/ 1739462 w 2186152"/>
                <a:gd name="connsiteY3" fmla="*/ 0 h 3095296"/>
                <a:gd name="connsiteX0" fmla="*/ 1733563 w 2186152"/>
                <a:gd name="connsiteY0" fmla="*/ 0 h 3112994"/>
                <a:gd name="connsiteX1" fmla="*/ 0 w 2186152"/>
                <a:gd name="connsiteY1" fmla="*/ 1909560 h 3112994"/>
                <a:gd name="connsiteX2" fmla="*/ 2186152 w 2186152"/>
                <a:gd name="connsiteY2" fmla="*/ 3112994 h 3112994"/>
                <a:gd name="connsiteX3" fmla="*/ 1733563 w 2186152"/>
                <a:gd name="connsiteY3" fmla="*/ 0 h 3112994"/>
                <a:gd name="connsiteX0" fmla="*/ 1752613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52613 w 2186152"/>
                <a:gd name="connsiteY3" fmla="*/ 0 h 3108232"/>
                <a:gd name="connsiteX0" fmla="*/ 1738326 w 2186152"/>
                <a:gd name="connsiteY0" fmla="*/ 0 h 3108232"/>
                <a:gd name="connsiteX1" fmla="*/ 0 w 2186152"/>
                <a:gd name="connsiteY1" fmla="*/ 1904798 h 3108232"/>
                <a:gd name="connsiteX2" fmla="*/ 2186152 w 2186152"/>
                <a:gd name="connsiteY2" fmla="*/ 3108232 h 3108232"/>
                <a:gd name="connsiteX3" fmla="*/ 1738326 w 2186152"/>
                <a:gd name="connsiteY3" fmla="*/ 0 h 3108232"/>
                <a:gd name="connsiteX0" fmla="*/ 1724039 w 2186152"/>
                <a:gd name="connsiteY0" fmla="*/ 0 h 3089182"/>
                <a:gd name="connsiteX1" fmla="*/ 0 w 2186152"/>
                <a:gd name="connsiteY1" fmla="*/ 1885748 h 3089182"/>
                <a:gd name="connsiteX2" fmla="*/ 2186152 w 2186152"/>
                <a:gd name="connsiteY2" fmla="*/ 3089182 h 3089182"/>
                <a:gd name="connsiteX3" fmla="*/ 1724039 w 2186152"/>
                <a:gd name="connsiteY3" fmla="*/ 0 h 3089182"/>
                <a:gd name="connsiteX0" fmla="*/ 1743089 w 2205202"/>
                <a:gd name="connsiteY0" fmla="*/ 0 h 3089182"/>
                <a:gd name="connsiteX1" fmla="*/ 0 w 2205202"/>
                <a:gd name="connsiteY1" fmla="*/ 1861935 h 3089182"/>
                <a:gd name="connsiteX2" fmla="*/ 2205202 w 2205202"/>
                <a:gd name="connsiteY2" fmla="*/ 3089182 h 3089182"/>
                <a:gd name="connsiteX3" fmla="*/ 1743089 w 2205202"/>
                <a:gd name="connsiteY3" fmla="*/ 0 h 3089182"/>
                <a:gd name="connsiteX0" fmla="*/ 1733564 w 2205202"/>
                <a:gd name="connsiteY0" fmla="*/ 0 h 3079657"/>
                <a:gd name="connsiteX1" fmla="*/ 0 w 2205202"/>
                <a:gd name="connsiteY1" fmla="*/ 1852410 h 3079657"/>
                <a:gd name="connsiteX2" fmla="*/ 2205202 w 2205202"/>
                <a:gd name="connsiteY2" fmla="*/ 3079657 h 3079657"/>
                <a:gd name="connsiteX3" fmla="*/ 1733564 w 2205202"/>
                <a:gd name="connsiteY3" fmla="*/ 0 h 3079657"/>
                <a:gd name="connsiteX0" fmla="*/ 1695464 w 2167102"/>
                <a:gd name="connsiteY0" fmla="*/ 0 h 3079657"/>
                <a:gd name="connsiteX1" fmla="*/ 0 w 2167102"/>
                <a:gd name="connsiteY1" fmla="*/ 1871460 h 3079657"/>
                <a:gd name="connsiteX2" fmla="*/ 2167102 w 2167102"/>
                <a:gd name="connsiteY2" fmla="*/ 3079657 h 3079657"/>
                <a:gd name="connsiteX3" fmla="*/ 1695464 w 2167102"/>
                <a:gd name="connsiteY3" fmla="*/ 0 h 3079657"/>
                <a:gd name="connsiteX0" fmla="*/ 1724039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4039 w 2195677"/>
                <a:gd name="connsiteY3" fmla="*/ 0 h 3079657"/>
                <a:gd name="connsiteX0" fmla="*/ 17460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46073 w 2195677"/>
                <a:gd name="connsiteY3" fmla="*/ 0 h 3079657"/>
                <a:gd name="connsiteX0" fmla="*/ 1714323 w 2195677"/>
                <a:gd name="connsiteY0" fmla="*/ 0 h 3098707"/>
                <a:gd name="connsiteX1" fmla="*/ 0 w 2195677"/>
                <a:gd name="connsiteY1" fmla="*/ 1885748 h 3098707"/>
                <a:gd name="connsiteX2" fmla="*/ 2195677 w 2195677"/>
                <a:gd name="connsiteY2" fmla="*/ 3098707 h 3098707"/>
                <a:gd name="connsiteX3" fmla="*/ 1714323 w 2195677"/>
                <a:gd name="connsiteY3" fmla="*/ 0 h 3098707"/>
                <a:gd name="connsiteX0" fmla="*/ 1720673 w 2195677"/>
                <a:gd name="connsiteY0" fmla="*/ 0 h 3092357"/>
                <a:gd name="connsiteX1" fmla="*/ 0 w 2195677"/>
                <a:gd name="connsiteY1" fmla="*/ 1879398 h 3092357"/>
                <a:gd name="connsiteX2" fmla="*/ 2195677 w 2195677"/>
                <a:gd name="connsiteY2" fmla="*/ 3092357 h 3092357"/>
                <a:gd name="connsiteX3" fmla="*/ 1720673 w 2195677"/>
                <a:gd name="connsiteY3" fmla="*/ 0 h 3092357"/>
                <a:gd name="connsiteX0" fmla="*/ 1739723 w 2195677"/>
                <a:gd name="connsiteY0" fmla="*/ 0 h 3086007"/>
                <a:gd name="connsiteX1" fmla="*/ 0 w 2195677"/>
                <a:gd name="connsiteY1" fmla="*/ 1873048 h 3086007"/>
                <a:gd name="connsiteX2" fmla="*/ 2195677 w 2195677"/>
                <a:gd name="connsiteY2" fmla="*/ 3086007 h 3086007"/>
                <a:gd name="connsiteX3" fmla="*/ 1739723 w 2195677"/>
                <a:gd name="connsiteY3" fmla="*/ 0 h 3086007"/>
                <a:gd name="connsiteX0" fmla="*/ 1720673 w 2195677"/>
                <a:gd name="connsiteY0" fmla="*/ 0 h 3155857"/>
                <a:gd name="connsiteX1" fmla="*/ 0 w 2195677"/>
                <a:gd name="connsiteY1" fmla="*/ 1942898 h 3155857"/>
                <a:gd name="connsiteX2" fmla="*/ 2195677 w 2195677"/>
                <a:gd name="connsiteY2" fmla="*/ 3155857 h 3155857"/>
                <a:gd name="connsiteX3" fmla="*/ 1720673 w 2195677"/>
                <a:gd name="connsiteY3" fmla="*/ 0 h 3155857"/>
                <a:gd name="connsiteX0" fmla="*/ 1720673 w 2195677"/>
                <a:gd name="connsiteY0" fmla="*/ 0 h 3079657"/>
                <a:gd name="connsiteX1" fmla="*/ 0 w 2195677"/>
                <a:gd name="connsiteY1" fmla="*/ 1866698 h 3079657"/>
                <a:gd name="connsiteX2" fmla="*/ 2195677 w 2195677"/>
                <a:gd name="connsiteY2" fmla="*/ 3079657 h 3079657"/>
                <a:gd name="connsiteX3" fmla="*/ 1720673 w 2195677"/>
                <a:gd name="connsiteY3" fmla="*/ 0 h 3079657"/>
                <a:gd name="connsiteX0" fmla="*/ 1720673 w 2195677"/>
                <a:gd name="connsiteY0" fmla="*/ 0 h 3149507"/>
                <a:gd name="connsiteX1" fmla="*/ 0 w 2195677"/>
                <a:gd name="connsiteY1" fmla="*/ 1936548 h 3149507"/>
                <a:gd name="connsiteX2" fmla="*/ 2195677 w 2195677"/>
                <a:gd name="connsiteY2" fmla="*/ 3149507 h 3149507"/>
                <a:gd name="connsiteX3" fmla="*/ 1720673 w 219567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39723 w 2214727"/>
                <a:gd name="connsiteY0" fmla="*/ 0 h 3149507"/>
                <a:gd name="connsiteX1" fmla="*/ 0 w 2214727"/>
                <a:gd name="connsiteY1" fmla="*/ 1936548 h 3149507"/>
                <a:gd name="connsiteX2" fmla="*/ 2214727 w 2214727"/>
                <a:gd name="connsiteY2" fmla="*/ 3149507 h 3149507"/>
                <a:gd name="connsiteX3" fmla="*/ 1739723 w 2214727"/>
                <a:gd name="connsiteY3" fmla="*/ 0 h 3149507"/>
                <a:gd name="connsiteX0" fmla="*/ 1724975 w 2199979"/>
                <a:gd name="connsiteY0" fmla="*/ 0 h 3149507"/>
                <a:gd name="connsiteX1" fmla="*/ 0 w 2199979"/>
                <a:gd name="connsiteY1" fmla="*/ 1921800 h 3149507"/>
                <a:gd name="connsiteX2" fmla="*/ 2199979 w 2199979"/>
                <a:gd name="connsiteY2" fmla="*/ 3149507 h 3149507"/>
                <a:gd name="connsiteX3" fmla="*/ 1724975 w 2199979"/>
                <a:gd name="connsiteY3" fmla="*/ 0 h 3149507"/>
                <a:gd name="connsiteX0" fmla="*/ 1722399 w 2199979"/>
                <a:gd name="connsiteY0" fmla="*/ 0 h 3072234"/>
                <a:gd name="connsiteX1" fmla="*/ 0 w 2199979"/>
                <a:gd name="connsiteY1" fmla="*/ 1844527 h 3072234"/>
                <a:gd name="connsiteX2" fmla="*/ 2199979 w 2199979"/>
                <a:gd name="connsiteY2" fmla="*/ 3072234 h 3072234"/>
                <a:gd name="connsiteX3" fmla="*/ 1722399 w 2199979"/>
                <a:gd name="connsiteY3" fmla="*/ 0 h 3072234"/>
                <a:gd name="connsiteX0" fmla="*/ 1722399 w 2199979"/>
                <a:gd name="connsiteY0" fmla="*/ 0 h 3123750"/>
                <a:gd name="connsiteX1" fmla="*/ 0 w 2199979"/>
                <a:gd name="connsiteY1" fmla="*/ 1896043 h 3123750"/>
                <a:gd name="connsiteX2" fmla="*/ 2199979 w 2199979"/>
                <a:gd name="connsiteY2" fmla="*/ 3123750 h 3123750"/>
                <a:gd name="connsiteX3" fmla="*/ 1722399 w 2199979"/>
                <a:gd name="connsiteY3" fmla="*/ 0 h 3123750"/>
                <a:gd name="connsiteX0" fmla="*/ 1736047 w 2199979"/>
                <a:gd name="connsiteY0" fmla="*/ 0 h 3164694"/>
                <a:gd name="connsiteX1" fmla="*/ 0 w 2199979"/>
                <a:gd name="connsiteY1" fmla="*/ 1936987 h 3164694"/>
                <a:gd name="connsiteX2" fmla="*/ 2199979 w 2199979"/>
                <a:gd name="connsiteY2" fmla="*/ 3164694 h 3164694"/>
                <a:gd name="connsiteX3" fmla="*/ 1736047 w 2199979"/>
                <a:gd name="connsiteY3" fmla="*/ 0 h 3164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99979" h="3164694">
                  <a:moveTo>
                    <a:pt x="1736047" y="0"/>
                  </a:moveTo>
                  <a:lnTo>
                    <a:pt x="0" y="1936987"/>
                  </a:lnTo>
                  <a:lnTo>
                    <a:pt x="2199979" y="3164694"/>
                  </a:lnTo>
                  <a:lnTo>
                    <a:pt x="1736047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6375805" y="1"/>
              <a:ext cx="4644129" cy="1222744"/>
            </a:xfrm>
            <a:custGeom>
              <a:avLst/>
              <a:gdLst>
                <a:gd name="connsiteX0" fmla="*/ 0 w 4550735"/>
                <a:gd name="connsiteY0" fmla="*/ 0 h 1222745"/>
                <a:gd name="connsiteX1" fmla="*/ 1222744 w 4550735"/>
                <a:gd name="connsiteY1" fmla="*/ 1222745 h 1222745"/>
                <a:gd name="connsiteX2" fmla="*/ 4550735 w 4550735"/>
                <a:gd name="connsiteY2" fmla="*/ 10633 h 1222745"/>
                <a:gd name="connsiteX3" fmla="*/ 0 w 4550735"/>
                <a:gd name="connsiteY3" fmla="*/ 0 h 1222745"/>
                <a:gd name="connsiteX0" fmla="*/ 0 w 4582633"/>
                <a:gd name="connsiteY0" fmla="*/ 10633 h 1212112"/>
                <a:gd name="connsiteX1" fmla="*/ 1254642 w 4582633"/>
                <a:gd name="connsiteY1" fmla="*/ 1212112 h 1212112"/>
                <a:gd name="connsiteX2" fmla="*/ 4582633 w 4582633"/>
                <a:gd name="connsiteY2" fmla="*/ 0 h 1212112"/>
                <a:gd name="connsiteX3" fmla="*/ 0 w 4582633"/>
                <a:gd name="connsiteY3" fmla="*/ 10633 h 1212112"/>
                <a:gd name="connsiteX0" fmla="*/ 0 w 4566685"/>
                <a:gd name="connsiteY0" fmla="*/ 0 h 1228061"/>
                <a:gd name="connsiteX1" fmla="*/ 1238694 w 4566685"/>
                <a:gd name="connsiteY1" fmla="*/ 1228061 h 1228061"/>
                <a:gd name="connsiteX2" fmla="*/ 4566685 w 4566685"/>
                <a:gd name="connsiteY2" fmla="*/ 15949 h 1228061"/>
                <a:gd name="connsiteX3" fmla="*/ 0 w 4566685"/>
                <a:gd name="connsiteY3" fmla="*/ 0 h 1228061"/>
                <a:gd name="connsiteX0" fmla="*/ 0 w 4566685"/>
                <a:gd name="connsiteY0" fmla="*/ 0 h 1217428"/>
                <a:gd name="connsiteX1" fmla="*/ 1238694 w 4566685"/>
                <a:gd name="connsiteY1" fmla="*/ 1217428 h 1217428"/>
                <a:gd name="connsiteX2" fmla="*/ 4566685 w 4566685"/>
                <a:gd name="connsiteY2" fmla="*/ 5316 h 1217428"/>
                <a:gd name="connsiteX3" fmla="*/ 0 w 4566685"/>
                <a:gd name="connsiteY3" fmla="*/ 0 h 1217428"/>
                <a:gd name="connsiteX0" fmla="*/ 0 w 4614532"/>
                <a:gd name="connsiteY0" fmla="*/ 0 h 1217428"/>
                <a:gd name="connsiteX1" fmla="*/ 1238694 w 4614532"/>
                <a:gd name="connsiteY1" fmla="*/ 1217428 h 1217428"/>
                <a:gd name="connsiteX2" fmla="*/ 4614532 w 4614532"/>
                <a:gd name="connsiteY2" fmla="*/ 5316 h 1217428"/>
                <a:gd name="connsiteX3" fmla="*/ 0 w 4614532"/>
                <a:gd name="connsiteY3" fmla="*/ 0 h 1217428"/>
                <a:gd name="connsiteX0" fmla="*/ 0 w 4614532"/>
                <a:gd name="connsiteY0" fmla="*/ 0 h 1228060"/>
                <a:gd name="connsiteX1" fmla="*/ 1286541 w 4614532"/>
                <a:gd name="connsiteY1" fmla="*/ 1228060 h 1228060"/>
                <a:gd name="connsiteX2" fmla="*/ 4614532 w 4614532"/>
                <a:gd name="connsiteY2" fmla="*/ 5316 h 1228060"/>
                <a:gd name="connsiteX3" fmla="*/ 0 w 4614532"/>
                <a:gd name="connsiteY3" fmla="*/ 0 h 1228060"/>
                <a:gd name="connsiteX0" fmla="*/ 0 w 4614532"/>
                <a:gd name="connsiteY0" fmla="*/ 10633 h 1222744"/>
                <a:gd name="connsiteX1" fmla="*/ 1286541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10633 h 1201479"/>
                <a:gd name="connsiteX1" fmla="*/ 1238695 w 4614532"/>
                <a:gd name="connsiteY1" fmla="*/ 1201479 h 1201479"/>
                <a:gd name="connsiteX2" fmla="*/ 4614532 w 4614532"/>
                <a:gd name="connsiteY2" fmla="*/ 0 h 1201479"/>
                <a:gd name="connsiteX3" fmla="*/ 0 w 4614532"/>
                <a:gd name="connsiteY3" fmla="*/ 10633 h 1201479"/>
                <a:gd name="connsiteX0" fmla="*/ 0 w 4614532"/>
                <a:gd name="connsiteY0" fmla="*/ 10633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10633 h 1222744"/>
                <a:gd name="connsiteX0" fmla="*/ 0 w 4614532"/>
                <a:gd name="connsiteY0" fmla="*/ 0 h 1222744"/>
                <a:gd name="connsiteX1" fmla="*/ 1249328 w 4614532"/>
                <a:gd name="connsiteY1" fmla="*/ 1222744 h 1222744"/>
                <a:gd name="connsiteX2" fmla="*/ 4614532 w 4614532"/>
                <a:gd name="connsiteY2" fmla="*/ 0 h 1222744"/>
                <a:gd name="connsiteX3" fmla="*/ 0 w 4614532"/>
                <a:gd name="connsiteY3" fmla="*/ 0 h 1222744"/>
                <a:gd name="connsiteX0" fmla="*/ 0 w 4630481"/>
                <a:gd name="connsiteY0" fmla="*/ 0 h 1222744"/>
                <a:gd name="connsiteX1" fmla="*/ 1249328 w 4630481"/>
                <a:gd name="connsiteY1" fmla="*/ 1222744 h 1222744"/>
                <a:gd name="connsiteX2" fmla="*/ 4630481 w 4630481"/>
                <a:gd name="connsiteY2" fmla="*/ 0 h 1222744"/>
                <a:gd name="connsiteX3" fmla="*/ 0 w 4630481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0 h 1222744"/>
                <a:gd name="connsiteX3" fmla="*/ 0 w 4671425"/>
                <a:gd name="connsiteY3" fmla="*/ 0 h 1222744"/>
                <a:gd name="connsiteX0" fmla="*/ 0 w 4671425"/>
                <a:gd name="connsiteY0" fmla="*/ 0 h 1222744"/>
                <a:gd name="connsiteX1" fmla="*/ 1290272 w 4671425"/>
                <a:gd name="connsiteY1" fmla="*/ 1222744 h 1222744"/>
                <a:gd name="connsiteX2" fmla="*/ 4671425 w 4671425"/>
                <a:gd name="connsiteY2" fmla="*/ 614149 h 1222744"/>
                <a:gd name="connsiteX3" fmla="*/ 0 w 4671425"/>
                <a:gd name="connsiteY3" fmla="*/ 0 h 1222744"/>
                <a:gd name="connsiteX0" fmla="*/ 0 w 4657777"/>
                <a:gd name="connsiteY0" fmla="*/ 13648 h 1236392"/>
                <a:gd name="connsiteX1" fmla="*/ 1290272 w 4657777"/>
                <a:gd name="connsiteY1" fmla="*/ 1236392 h 1236392"/>
                <a:gd name="connsiteX2" fmla="*/ 4657777 w 4657777"/>
                <a:gd name="connsiteY2" fmla="*/ 0 h 1236392"/>
                <a:gd name="connsiteX3" fmla="*/ 0 w 4657777"/>
                <a:gd name="connsiteY3" fmla="*/ 13648 h 1236392"/>
                <a:gd name="connsiteX0" fmla="*/ 0 w 4644129"/>
                <a:gd name="connsiteY0" fmla="*/ 0 h 1222744"/>
                <a:gd name="connsiteX1" fmla="*/ 1290272 w 4644129"/>
                <a:gd name="connsiteY1" fmla="*/ 1222744 h 1222744"/>
                <a:gd name="connsiteX2" fmla="*/ 4644129 w 4644129"/>
                <a:gd name="connsiteY2" fmla="*/ 0 h 1222744"/>
                <a:gd name="connsiteX3" fmla="*/ 0 w 4644129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4129" h="1222744">
                  <a:moveTo>
                    <a:pt x="0" y="0"/>
                  </a:moveTo>
                  <a:lnTo>
                    <a:pt x="1290272" y="1222744"/>
                  </a:lnTo>
                  <a:lnTo>
                    <a:pt x="4644129" y="0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5000">
                  <a:schemeClr val="accent2"/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Freeform 8"/>
            <p:cNvSpPr/>
            <p:nvPr/>
          </p:nvSpPr>
          <p:spPr>
            <a:xfrm>
              <a:off x="4052439" y="2989173"/>
              <a:ext cx="3708351" cy="2971471"/>
            </a:xfrm>
            <a:custGeom>
              <a:avLst/>
              <a:gdLst>
                <a:gd name="connsiteX0" fmla="*/ 2291255 w 3641834"/>
                <a:gd name="connsiteY0" fmla="*/ 0 h 2958662"/>
                <a:gd name="connsiteX1" fmla="*/ 3641834 w 3641834"/>
                <a:gd name="connsiteY1" fmla="*/ 1692165 h 2958662"/>
                <a:gd name="connsiteX2" fmla="*/ 0 w 3641834"/>
                <a:gd name="connsiteY2" fmla="*/ 2958662 h 2958662"/>
                <a:gd name="connsiteX3" fmla="*/ 2291255 w 3641834"/>
                <a:gd name="connsiteY3" fmla="*/ 0 h 2958662"/>
                <a:gd name="connsiteX0" fmla="*/ 2291255 w 3641834"/>
                <a:gd name="connsiteY0" fmla="*/ 0 h 2963917"/>
                <a:gd name="connsiteX1" fmla="*/ 3641834 w 3641834"/>
                <a:gd name="connsiteY1" fmla="*/ 1697420 h 2963917"/>
                <a:gd name="connsiteX2" fmla="*/ 0 w 3641834"/>
                <a:gd name="connsiteY2" fmla="*/ 2963917 h 2963917"/>
                <a:gd name="connsiteX3" fmla="*/ 2291255 w 3641834"/>
                <a:gd name="connsiteY3" fmla="*/ 0 h 2963917"/>
                <a:gd name="connsiteX0" fmla="*/ 2301765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301765 w 3641834"/>
                <a:gd name="connsiteY3" fmla="*/ 0 h 2948152"/>
                <a:gd name="connsiteX0" fmla="*/ 2293452 w 3641834"/>
                <a:gd name="connsiteY0" fmla="*/ 0 h 2948152"/>
                <a:gd name="connsiteX1" fmla="*/ 3641834 w 3641834"/>
                <a:gd name="connsiteY1" fmla="*/ 1681655 h 2948152"/>
                <a:gd name="connsiteX2" fmla="*/ 0 w 3641834"/>
                <a:gd name="connsiteY2" fmla="*/ 2948152 h 2948152"/>
                <a:gd name="connsiteX3" fmla="*/ 2293452 w 3641834"/>
                <a:gd name="connsiteY3" fmla="*/ 0 h 2948152"/>
                <a:gd name="connsiteX0" fmla="*/ 2305379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305379 w 3653761"/>
                <a:gd name="connsiteY3" fmla="*/ 0 h 2944176"/>
                <a:gd name="connsiteX0" fmla="*/ 2291731 w 3653761"/>
                <a:gd name="connsiteY0" fmla="*/ 0 h 2944176"/>
                <a:gd name="connsiteX1" fmla="*/ 3653761 w 3653761"/>
                <a:gd name="connsiteY1" fmla="*/ 1681655 h 2944176"/>
                <a:gd name="connsiteX2" fmla="*/ 0 w 3653761"/>
                <a:gd name="connsiteY2" fmla="*/ 2944176 h 2944176"/>
                <a:gd name="connsiteX3" fmla="*/ 2291731 w 3653761"/>
                <a:gd name="connsiteY3" fmla="*/ 0 h 2944176"/>
                <a:gd name="connsiteX0" fmla="*/ 2305378 w 3653761"/>
                <a:gd name="connsiteY0" fmla="*/ 0 h 2971471"/>
                <a:gd name="connsiteX1" fmla="*/ 3653761 w 3653761"/>
                <a:gd name="connsiteY1" fmla="*/ 1708950 h 2971471"/>
                <a:gd name="connsiteX2" fmla="*/ 0 w 3653761"/>
                <a:gd name="connsiteY2" fmla="*/ 2971471 h 2971471"/>
                <a:gd name="connsiteX3" fmla="*/ 2305378 w 3653761"/>
                <a:gd name="connsiteY3" fmla="*/ 0 h 2971471"/>
                <a:gd name="connsiteX0" fmla="*/ 2305378 w 3694704"/>
                <a:gd name="connsiteY0" fmla="*/ 0 h 2971471"/>
                <a:gd name="connsiteX1" fmla="*/ 3694704 w 3694704"/>
                <a:gd name="connsiteY1" fmla="*/ 1722598 h 2971471"/>
                <a:gd name="connsiteX2" fmla="*/ 0 w 3694704"/>
                <a:gd name="connsiteY2" fmla="*/ 2971471 h 2971471"/>
                <a:gd name="connsiteX3" fmla="*/ 2305378 w 3694704"/>
                <a:gd name="connsiteY3" fmla="*/ 0 h 2971471"/>
                <a:gd name="connsiteX0" fmla="*/ 2319025 w 3708351"/>
                <a:gd name="connsiteY0" fmla="*/ 0 h 2971471"/>
                <a:gd name="connsiteX1" fmla="*/ 3708351 w 3708351"/>
                <a:gd name="connsiteY1" fmla="*/ 1722598 h 2971471"/>
                <a:gd name="connsiteX2" fmla="*/ 0 w 3708351"/>
                <a:gd name="connsiteY2" fmla="*/ 2971471 h 2971471"/>
                <a:gd name="connsiteX3" fmla="*/ 2319025 w 3708351"/>
                <a:gd name="connsiteY3" fmla="*/ 0 h 2971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08351" h="2971471">
                  <a:moveTo>
                    <a:pt x="2319025" y="0"/>
                  </a:moveTo>
                  <a:lnTo>
                    <a:pt x="3708351" y="1722598"/>
                  </a:lnTo>
                  <a:lnTo>
                    <a:pt x="0" y="2971471"/>
                  </a:lnTo>
                  <a:lnTo>
                    <a:pt x="231902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0" name="Freeform 9"/>
            <p:cNvSpPr/>
            <p:nvPr/>
          </p:nvSpPr>
          <p:spPr>
            <a:xfrm>
              <a:off x="-3085" y="0"/>
              <a:ext cx="3366670" cy="1804474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346198"/>
                <a:gd name="connsiteY0" fmla="*/ 0 h 1771137"/>
                <a:gd name="connsiteX1" fmla="*/ 3346198 w 3346198"/>
                <a:gd name="connsiteY1" fmla="*/ 3282 h 1771137"/>
                <a:gd name="connsiteX2" fmla="*/ 3153403 w 3346198"/>
                <a:gd name="connsiteY2" fmla="*/ 1771137 h 1771137"/>
                <a:gd name="connsiteX3" fmla="*/ 0 w 3346198"/>
                <a:gd name="connsiteY3" fmla="*/ 0 h 1771137"/>
                <a:gd name="connsiteX0" fmla="*/ 0 w 3346198"/>
                <a:gd name="connsiteY0" fmla="*/ 0 h 1766374"/>
                <a:gd name="connsiteX1" fmla="*/ 3346198 w 3346198"/>
                <a:gd name="connsiteY1" fmla="*/ 3282 h 1766374"/>
                <a:gd name="connsiteX2" fmla="*/ 3110540 w 3346198"/>
                <a:gd name="connsiteY2" fmla="*/ 1766374 h 1766374"/>
                <a:gd name="connsiteX3" fmla="*/ 0 w 3346198"/>
                <a:gd name="connsiteY3" fmla="*/ 0 h 1766374"/>
                <a:gd name="connsiteX0" fmla="*/ 0 w 3346198"/>
                <a:gd name="connsiteY0" fmla="*/ 0 h 1780662"/>
                <a:gd name="connsiteX1" fmla="*/ 3346198 w 3346198"/>
                <a:gd name="connsiteY1" fmla="*/ 3282 h 1780662"/>
                <a:gd name="connsiteX2" fmla="*/ 3091490 w 3346198"/>
                <a:gd name="connsiteY2" fmla="*/ 1780662 h 1780662"/>
                <a:gd name="connsiteX3" fmla="*/ 0 w 3346198"/>
                <a:gd name="connsiteY3" fmla="*/ 0 h 1780662"/>
                <a:gd name="connsiteX0" fmla="*/ 0 w 3346198"/>
                <a:gd name="connsiteY0" fmla="*/ 0 h 1804474"/>
                <a:gd name="connsiteX1" fmla="*/ 3346198 w 3346198"/>
                <a:gd name="connsiteY1" fmla="*/ 3282 h 1804474"/>
                <a:gd name="connsiteX2" fmla="*/ 3115303 w 3346198"/>
                <a:gd name="connsiteY2" fmla="*/ 1804474 h 1804474"/>
                <a:gd name="connsiteX3" fmla="*/ 0 w 3346198"/>
                <a:gd name="connsiteY3" fmla="*/ 0 h 1804474"/>
                <a:gd name="connsiteX0" fmla="*/ 0 w 3346198"/>
                <a:gd name="connsiteY0" fmla="*/ 10366 h 1801192"/>
                <a:gd name="connsiteX1" fmla="*/ 3346198 w 3346198"/>
                <a:gd name="connsiteY1" fmla="*/ 0 h 1801192"/>
                <a:gd name="connsiteX2" fmla="*/ 3115303 w 3346198"/>
                <a:gd name="connsiteY2" fmla="*/ 1801192 h 1801192"/>
                <a:gd name="connsiteX3" fmla="*/ 0 w 3346198"/>
                <a:gd name="connsiteY3" fmla="*/ 10366 h 1801192"/>
                <a:gd name="connsiteX0" fmla="*/ 0 w 3366670"/>
                <a:gd name="connsiteY0" fmla="*/ 0 h 1818122"/>
                <a:gd name="connsiteX1" fmla="*/ 3366670 w 3366670"/>
                <a:gd name="connsiteY1" fmla="*/ 16930 h 1818122"/>
                <a:gd name="connsiteX2" fmla="*/ 3135775 w 3366670"/>
                <a:gd name="connsiteY2" fmla="*/ 1818122 h 1818122"/>
                <a:gd name="connsiteX3" fmla="*/ 0 w 3366670"/>
                <a:gd name="connsiteY3" fmla="*/ 0 h 1818122"/>
                <a:gd name="connsiteX0" fmla="*/ 0 w 3363258"/>
                <a:gd name="connsiteY0" fmla="*/ 0 h 1811298"/>
                <a:gd name="connsiteX1" fmla="*/ 3363258 w 3363258"/>
                <a:gd name="connsiteY1" fmla="*/ 10106 h 1811298"/>
                <a:gd name="connsiteX2" fmla="*/ 3132363 w 3363258"/>
                <a:gd name="connsiteY2" fmla="*/ 1811298 h 1811298"/>
                <a:gd name="connsiteX3" fmla="*/ 0 w 3363258"/>
                <a:gd name="connsiteY3" fmla="*/ 0 h 1811298"/>
                <a:gd name="connsiteX0" fmla="*/ 0 w 3363258"/>
                <a:gd name="connsiteY0" fmla="*/ 0 h 1807886"/>
                <a:gd name="connsiteX1" fmla="*/ 3363258 w 3363258"/>
                <a:gd name="connsiteY1" fmla="*/ 6694 h 1807886"/>
                <a:gd name="connsiteX2" fmla="*/ 3132363 w 3363258"/>
                <a:gd name="connsiteY2" fmla="*/ 1807886 h 1807886"/>
                <a:gd name="connsiteX3" fmla="*/ 0 w 3363258"/>
                <a:gd name="connsiteY3" fmla="*/ 0 h 1807886"/>
                <a:gd name="connsiteX0" fmla="*/ 0 w 3363258"/>
                <a:gd name="connsiteY0" fmla="*/ 3542 h 1801192"/>
                <a:gd name="connsiteX1" fmla="*/ 3363258 w 3363258"/>
                <a:gd name="connsiteY1" fmla="*/ 0 h 1801192"/>
                <a:gd name="connsiteX2" fmla="*/ 3132363 w 3363258"/>
                <a:gd name="connsiteY2" fmla="*/ 1801192 h 1801192"/>
                <a:gd name="connsiteX3" fmla="*/ 0 w 3363258"/>
                <a:gd name="connsiteY3" fmla="*/ 3542 h 1801192"/>
                <a:gd name="connsiteX0" fmla="*/ 0 w 3366670"/>
                <a:gd name="connsiteY0" fmla="*/ 0 h 1804474"/>
                <a:gd name="connsiteX1" fmla="*/ 3366670 w 3366670"/>
                <a:gd name="connsiteY1" fmla="*/ 3282 h 1804474"/>
                <a:gd name="connsiteX2" fmla="*/ 3135775 w 3366670"/>
                <a:gd name="connsiteY2" fmla="*/ 1804474 h 1804474"/>
                <a:gd name="connsiteX3" fmla="*/ 0 w 3366670"/>
                <a:gd name="connsiteY3" fmla="*/ 0 h 180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6670" h="1804474">
                  <a:moveTo>
                    <a:pt x="0" y="0"/>
                  </a:moveTo>
                  <a:lnTo>
                    <a:pt x="3366670" y="3282"/>
                  </a:lnTo>
                  <a:lnTo>
                    <a:pt x="3135775" y="180447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9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3111696" y="1778988"/>
              <a:ext cx="3269644" cy="3085357"/>
            </a:xfrm>
            <a:custGeom>
              <a:avLst/>
              <a:gdLst>
                <a:gd name="connsiteX0" fmla="*/ 0 w 3237186"/>
                <a:gd name="connsiteY0" fmla="*/ 0 h 3095296"/>
                <a:gd name="connsiteX1" fmla="*/ 441434 w 3237186"/>
                <a:gd name="connsiteY1" fmla="*/ 3095296 h 3095296"/>
                <a:gd name="connsiteX2" fmla="*/ 3237186 w 3237186"/>
                <a:gd name="connsiteY2" fmla="*/ 1255986 h 3095296"/>
                <a:gd name="connsiteX3" fmla="*/ 0 w 3237186"/>
                <a:gd name="connsiteY3" fmla="*/ 0 h 3095296"/>
                <a:gd name="connsiteX0" fmla="*/ 0 w 3237186"/>
                <a:gd name="connsiteY0" fmla="*/ 0 h 3109584"/>
                <a:gd name="connsiteX1" fmla="*/ 441434 w 3237186"/>
                <a:gd name="connsiteY1" fmla="*/ 3109584 h 3109584"/>
                <a:gd name="connsiteX2" fmla="*/ 3237186 w 3237186"/>
                <a:gd name="connsiteY2" fmla="*/ 1270274 h 3109584"/>
                <a:gd name="connsiteX3" fmla="*/ 0 w 3237186"/>
                <a:gd name="connsiteY3" fmla="*/ 0 h 3109584"/>
                <a:gd name="connsiteX0" fmla="*/ 0 w 3237186"/>
                <a:gd name="connsiteY0" fmla="*/ 0 h 3085764"/>
                <a:gd name="connsiteX1" fmla="*/ 441434 w 3237186"/>
                <a:gd name="connsiteY1" fmla="*/ 3085764 h 3085764"/>
                <a:gd name="connsiteX2" fmla="*/ 3237186 w 3237186"/>
                <a:gd name="connsiteY2" fmla="*/ 1246454 h 3085764"/>
                <a:gd name="connsiteX3" fmla="*/ 0 w 3237186"/>
                <a:gd name="connsiteY3" fmla="*/ 0 h 3085764"/>
                <a:gd name="connsiteX0" fmla="*/ 0 w 3255520"/>
                <a:gd name="connsiteY0" fmla="*/ 0 h 3085764"/>
                <a:gd name="connsiteX1" fmla="*/ 441434 w 3255520"/>
                <a:gd name="connsiteY1" fmla="*/ 3085764 h 3085764"/>
                <a:gd name="connsiteX2" fmla="*/ 3255520 w 3255520"/>
                <a:gd name="connsiteY2" fmla="*/ 1239108 h 3085764"/>
                <a:gd name="connsiteX3" fmla="*/ 0 w 3255520"/>
                <a:gd name="connsiteY3" fmla="*/ 0 h 3085764"/>
                <a:gd name="connsiteX0" fmla="*/ 0 w 3255520"/>
                <a:gd name="connsiteY0" fmla="*/ 0 h 3088940"/>
                <a:gd name="connsiteX1" fmla="*/ 460457 w 3255520"/>
                <a:gd name="connsiteY1" fmla="*/ 3088940 h 3088940"/>
                <a:gd name="connsiteX2" fmla="*/ 3255520 w 3255520"/>
                <a:gd name="connsiteY2" fmla="*/ 1239108 h 3088940"/>
                <a:gd name="connsiteX3" fmla="*/ 0 w 3255520"/>
                <a:gd name="connsiteY3" fmla="*/ 0 h 3088940"/>
                <a:gd name="connsiteX0" fmla="*/ 0 w 3262334"/>
                <a:gd name="connsiteY0" fmla="*/ 0 h 3088940"/>
                <a:gd name="connsiteX1" fmla="*/ 460457 w 3262334"/>
                <a:gd name="connsiteY1" fmla="*/ 3088940 h 3088940"/>
                <a:gd name="connsiteX2" fmla="*/ 3262334 w 3262334"/>
                <a:gd name="connsiteY2" fmla="*/ 1239108 h 3088940"/>
                <a:gd name="connsiteX3" fmla="*/ 0 w 3262334"/>
                <a:gd name="connsiteY3" fmla="*/ 0 h 3088940"/>
                <a:gd name="connsiteX0" fmla="*/ 0 w 3264905"/>
                <a:gd name="connsiteY0" fmla="*/ 0 h 3086363"/>
                <a:gd name="connsiteX1" fmla="*/ 463028 w 3264905"/>
                <a:gd name="connsiteY1" fmla="*/ 3086363 h 3086363"/>
                <a:gd name="connsiteX2" fmla="*/ 3264905 w 3264905"/>
                <a:gd name="connsiteY2" fmla="*/ 1236531 h 3086363"/>
                <a:gd name="connsiteX3" fmla="*/ 0 w 3264905"/>
                <a:gd name="connsiteY3" fmla="*/ 0 h 308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4905" h="3086363">
                  <a:moveTo>
                    <a:pt x="0" y="0"/>
                  </a:moveTo>
                  <a:lnTo>
                    <a:pt x="463028" y="3086363"/>
                  </a:lnTo>
                  <a:lnTo>
                    <a:pt x="3264905" y="1236531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2" name="Freeform 11"/>
            <p:cNvSpPr/>
            <p:nvPr/>
          </p:nvSpPr>
          <p:spPr>
            <a:xfrm>
              <a:off x="7713406" y="2411362"/>
              <a:ext cx="1983659" cy="4457360"/>
            </a:xfrm>
            <a:custGeom>
              <a:avLst/>
              <a:gdLst>
                <a:gd name="connsiteX0" fmla="*/ 1983659 w 1983659"/>
                <a:gd name="connsiteY0" fmla="*/ 0 h 4431891"/>
                <a:gd name="connsiteX1" fmla="*/ 1032388 w 1983659"/>
                <a:gd name="connsiteY1" fmla="*/ 4431891 h 4431891"/>
                <a:gd name="connsiteX2" fmla="*/ 0 w 1983659"/>
                <a:gd name="connsiteY2" fmla="*/ 2286000 h 4431891"/>
                <a:gd name="connsiteX3" fmla="*/ 1983659 w 1983659"/>
                <a:gd name="connsiteY3" fmla="*/ 0 h 4431891"/>
                <a:gd name="connsiteX0" fmla="*/ 1983659 w 1983659"/>
                <a:gd name="connsiteY0" fmla="*/ 0 h 4439842"/>
                <a:gd name="connsiteX1" fmla="*/ 1000583 w 1983659"/>
                <a:gd name="connsiteY1" fmla="*/ 4439842 h 4439842"/>
                <a:gd name="connsiteX2" fmla="*/ 0 w 1983659"/>
                <a:gd name="connsiteY2" fmla="*/ 2286000 h 4439842"/>
                <a:gd name="connsiteX3" fmla="*/ 1983659 w 1983659"/>
                <a:gd name="connsiteY3" fmla="*/ 0 h 4439842"/>
                <a:gd name="connsiteX0" fmla="*/ 1983659 w 1983659"/>
                <a:gd name="connsiteY0" fmla="*/ 0 h 4447794"/>
                <a:gd name="connsiteX1" fmla="*/ 1000583 w 1983659"/>
                <a:gd name="connsiteY1" fmla="*/ 4447794 h 4447794"/>
                <a:gd name="connsiteX2" fmla="*/ 0 w 1983659"/>
                <a:gd name="connsiteY2" fmla="*/ 2286000 h 4447794"/>
                <a:gd name="connsiteX3" fmla="*/ 1983659 w 1983659"/>
                <a:gd name="connsiteY3" fmla="*/ 0 h 4447794"/>
                <a:gd name="connsiteX0" fmla="*/ 1983659 w 1983659"/>
                <a:gd name="connsiteY0" fmla="*/ 0 h 4471648"/>
                <a:gd name="connsiteX1" fmla="*/ 1000583 w 1983659"/>
                <a:gd name="connsiteY1" fmla="*/ 4471648 h 4471648"/>
                <a:gd name="connsiteX2" fmla="*/ 0 w 1983659"/>
                <a:gd name="connsiteY2" fmla="*/ 2286000 h 4471648"/>
                <a:gd name="connsiteX3" fmla="*/ 1983659 w 1983659"/>
                <a:gd name="connsiteY3" fmla="*/ 0 h 4471648"/>
                <a:gd name="connsiteX0" fmla="*/ 1983659 w 1983659"/>
                <a:gd name="connsiteY0" fmla="*/ 0 h 4457360"/>
                <a:gd name="connsiteX1" fmla="*/ 995820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  <a:gd name="connsiteX0" fmla="*/ 1983659 w 1983659"/>
                <a:gd name="connsiteY0" fmla="*/ 0 h 4457360"/>
                <a:gd name="connsiteX1" fmla="*/ 991058 w 1983659"/>
                <a:gd name="connsiteY1" fmla="*/ 4457360 h 4457360"/>
                <a:gd name="connsiteX2" fmla="*/ 0 w 1983659"/>
                <a:gd name="connsiteY2" fmla="*/ 2286000 h 4457360"/>
                <a:gd name="connsiteX3" fmla="*/ 1983659 w 1983659"/>
                <a:gd name="connsiteY3" fmla="*/ 0 h 4457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83659" h="4457360">
                  <a:moveTo>
                    <a:pt x="1983659" y="0"/>
                  </a:moveTo>
                  <a:lnTo>
                    <a:pt x="991058" y="4457360"/>
                  </a:lnTo>
                  <a:lnTo>
                    <a:pt x="0" y="2286000"/>
                  </a:lnTo>
                  <a:lnTo>
                    <a:pt x="198365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6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3" name="Freeform 12"/>
            <p:cNvSpPr/>
            <p:nvPr/>
          </p:nvSpPr>
          <p:spPr>
            <a:xfrm>
              <a:off x="6341757" y="1209676"/>
              <a:ext cx="3359456" cy="1822946"/>
            </a:xfrm>
            <a:custGeom>
              <a:avLst/>
              <a:gdLst>
                <a:gd name="connsiteX0" fmla="*/ 1271587 w 3305175"/>
                <a:gd name="connsiteY0" fmla="*/ 0 h 1809750"/>
                <a:gd name="connsiteX1" fmla="*/ 3305175 w 3305175"/>
                <a:gd name="connsiteY1" fmla="*/ 1233487 h 1809750"/>
                <a:gd name="connsiteX2" fmla="*/ 0 w 3305175"/>
                <a:gd name="connsiteY2" fmla="*/ 1809750 h 1809750"/>
                <a:gd name="connsiteX3" fmla="*/ 1271587 w 3305175"/>
                <a:gd name="connsiteY3" fmla="*/ 0 h 1809750"/>
                <a:gd name="connsiteX0" fmla="*/ 1281112 w 3314700"/>
                <a:gd name="connsiteY0" fmla="*/ 0 h 1828800"/>
                <a:gd name="connsiteX1" fmla="*/ 3314700 w 3314700"/>
                <a:gd name="connsiteY1" fmla="*/ 1233487 h 1828800"/>
                <a:gd name="connsiteX2" fmla="*/ 0 w 3314700"/>
                <a:gd name="connsiteY2" fmla="*/ 1828800 h 1828800"/>
                <a:gd name="connsiteX3" fmla="*/ 1281112 w 3314700"/>
                <a:gd name="connsiteY3" fmla="*/ 0 h 1828800"/>
                <a:gd name="connsiteX0" fmla="*/ 1300162 w 3333750"/>
                <a:gd name="connsiteY0" fmla="*/ 0 h 1824037"/>
                <a:gd name="connsiteX1" fmla="*/ 3333750 w 3333750"/>
                <a:gd name="connsiteY1" fmla="*/ 1233487 h 1824037"/>
                <a:gd name="connsiteX2" fmla="*/ 0 w 3333750"/>
                <a:gd name="connsiteY2" fmla="*/ 1824037 h 1824037"/>
                <a:gd name="connsiteX3" fmla="*/ 1300162 w 3333750"/>
                <a:gd name="connsiteY3" fmla="*/ 0 h 1824037"/>
                <a:gd name="connsiteX0" fmla="*/ 1314449 w 3333750"/>
                <a:gd name="connsiteY0" fmla="*/ 0 h 1381124"/>
                <a:gd name="connsiteX1" fmla="*/ 3333750 w 3333750"/>
                <a:gd name="connsiteY1" fmla="*/ 790574 h 1381124"/>
                <a:gd name="connsiteX2" fmla="*/ 0 w 3333750"/>
                <a:gd name="connsiteY2" fmla="*/ 1381124 h 1381124"/>
                <a:gd name="connsiteX3" fmla="*/ 1314449 w 3333750"/>
                <a:gd name="connsiteY3" fmla="*/ 0 h 138112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00162 w 3333750"/>
                <a:gd name="connsiteY0" fmla="*/ 0 h 1819274"/>
                <a:gd name="connsiteX1" fmla="*/ 3333750 w 3333750"/>
                <a:gd name="connsiteY1" fmla="*/ 1228724 h 1819274"/>
                <a:gd name="connsiteX2" fmla="*/ 0 w 3333750"/>
                <a:gd name="connsiteY2" fmla="*/ 1819274 h 1819274"/>
                <a:gd name="connsiteX3" fmla="*/ 1300162 w 3333750"/>
                <a:gd name="connsiteY3" fmla="*/ 0 h 1819274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  <a:gd name="connsiteX0" fmla="*/ 1325868 w 3359456"/>
                <a:gd name="connsiteY0" fmla="*/ 0 h 1822946"/>
                <a:gd name="connsiteX1" fmla="*/ 3359456 w 3359456"/>
                <a:gd name="connsiteY1" fmla="*/ 1228724 h 1822946"/>
                <a:gd name="connsiteX2" fmla="*/ 0 w 3359456"/>
                <a:gd name="connsiteY2" fmla="*/ 1822946 h 1822946"/>
                <a:gd name="connsiteX3" fmla="*/ 1325868 w 3359456"/>
                <a:gd name="connsiteY3" fmla="*/ 0 h 1822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9456" h="1822946">
                  <a:moveTo>
                    <a:pt x="1325868" y="0"/>
                  </a:moveTo>
                  <a:lnTo>
                    <a:pt x="3359456" y="1228724"/>
                  </a:lnTo>
                  <a:lnTo>
                    <a:pt x="0" y="1822946"/>
                  </a:lnTo>
                  <a:lnTo>
                    <a:pt x="132586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-227" y="-2"/>
              <a:ext cx="1040749" cy="6875699"/>
            </a:xfrm>
            <a:custGeom>
              <a:avLst/>
              <a:gdLst>
                <a:gd name="connsiteX0" fmla="*/ 0 w 1076445"/>
                <a:gd name="connsiteY0" fmla="*/ 0 h 6817489"/>
                <a:gd name="connsiteX1" fmla="*/ 1076445 w 1076445"/>
                <a:gd name="connsiteY1" fmla="*/ 1805651 h 6817489"/>
                <a:gd name="connsiteX2" fmla="*/ 11574 w 1076445"/>
                <a:gd name="connsiteY2" fmla="*/ 6817489 h 6817489"/>
                <a:gd name="connsiteX3" fmla="*/ 0 w 1076445"/>
                <a:gd name="connsiteY3" fmla="*/ 0 h 6817489"/>
                <a:gd name="connsiteX0" fmla="*/ 0 w 873245"/>
                <a:gd name="connsiteY0" fmla="*/ 0 h 6817489"/>
                <a:gd name="connsiteX1" fmla="*/ 873245 w 873245"/>
                <a:gd name="connsiteY1" fmla="*/ 1764376 h 6817489"/>
                <a:gd name="connsiteX2" fmla="*/ 11574 w 873245"/>
                <a:gd name="connsiteY2" fmla="*/ 6817489 h 6817489"/>
                <a:gd name="connsiteX3" fmla="*/ 0 w 873245"/>
                <a:gd name="connsiteY3" fmla="*/ 0 h 6817489"/>
                <a:gd name="connsiteX0" fmla="*/ 0 w 1047870"/>
                <a:gd name="connsiteY0" fmla="*/ 0 h 6817489"/>
                <a:gd name="connsiteX1" fmla="*/ 1047870 w 1047870"/>
                <a:gd name="connsiteY1" fmla="*/ 1770726 h 6817489"/>
                <a:gd name="connsiteX2" fmla="*/ 11574 w 1047870"/>
                <a:gd name="connsiteY2" fmla="*/ 6817489 h 6817489"/>
                <a:gd name="connsiteX3" fmla="*/ 0 w 1047870"/>
                <a:gd name="connsiteY3" fmla="*/ 0 h 6817489"/>
                <a:gd name="connsiteX0" fmla="*/ 0 w 698013"/>
                <a:gd name="connsiteY0" fmla="*/ 0 h 6817489"/>
                <a:gd name="connsiteX1" fmla="*/ 698013 w 698013"/>
                <a:gd name="connsiteY1" fmla="*/ 2181752 h 6817489"/>
                <a:gd name="connsiteX2" fmla="*/ 11574 w 698013"/>
                <a:gd name="connsiteY2" fmla="*/ 6817489 h 6817489"/>
                <a:gd name="connsiteX3" fmla="*/ 0 w 698013"/>
                <a:gd name="connsiteY3" fmla="*/ 0 h 6817489"/>
                <a:gd name="connsiteX0" fmla="*/ 0 w 1039919"/>
                <a:gd name="connsiteY0" fmla="*/ 0 h 6817489"/>
                <a:gd name="connsiteX1" fmla="*/ 1039919 w 1039919"/>
                <a:gd name="connsiteY1" fmla="*/ 1762823 h 6817489"/>
                <a:gd name="connsiteX2" fmla="*/ 11574 w 1039919"/>
                <a:gd name="connsiteY2" fmla="*/ 6817489 h 6817489"/>
                <a:gd name="connsiteX3" fmla="*/ 0 w 1039919"/>
                <a:gd name="connsiteY3" fmla="*/ 0 h 6817489"/>
                <a:gd name="connsiteX0" fmla="*/ 0 w 823788"/>
                <a:gd name="connsiteY0" fmla="*/ 0 h 6817489"/>
                <a:gd name="connsiteX1" fmla="*/ 823788 w 823788"/>
                <a:gd name="connsiteY1" fmla="*/ 1820668 h 6817489"/>
                <a:gd name="connsiteX2" fmla="*/ 11574 w 823788"/>
                <a:gd name="connsiteY2" fmla="*/ 6817489 h 6817489"/>
                <a:gd name="connsiteX3" fmla="*/ 0 w 823788"/>
                <a:gd name="connsiteY3" fmla="*/ 0 h 6817489"/>
                <a:gd name="connsiteX0" fmla="*/ 0 w 1035762"/>
                <a:gd name="connsiteY0" fmla="*/ 0 h 6817489"/>
                <a:gd name="connsiteX1" fmla="*/ 1035762 w 1035762"/>
                <a:gd name="connsiteY1" fmla="*/ 1766955 h 6817489"/>
                <a:gd name="connsiteX2" fmla="*/ 11574 w 1035762"/>
                <a:gd name="connsiteY2" fmla="*/ 6817489 h 6817489"/>
                <a:gd name="connsiteX3" fmla="*/ 0 w 1035762"/>
                <a:gd name="connsiteY3" fmla="*/ 0 h 6817489"/>
                <a:gd name="connsiteX0" fmla="*/ 0 w 1040524"/>
                <a:gd name="connsiteY0" fmla="*/ 0 h 6817489"/>
                <a:gd name="connsiteX1" fmla="*/ 1040524 w 1040524"/>
                <a:gd name="connsiteY1" fmla="*/ 1762221 h 6817489"/>
                <a:gd name="connsiteX2" fmla="*/ 11574 w 1040524"/>
                <a:gd name="connsiteY2" fmla="*/ 6817489 h 6817489"/>
                <a:gd name="connsiteX3" fmla="*/ 0 w 1040524"/>
                <a:gd name="connsiteY3" fmla="*/ 0 h 6817489"/>
                <a:gd name="connsiteX0" fmla="*/ 225 w 1040749"/>
                <a:gd name="connsiteY0" fmla="*/ 0 h 6858541"/>
                <a:gd name="connsiteX1" fmla="*/ 1040749 w 1040749"/>
                <a:gd name="connsiteY1" fmla="*/ 1762221 h 6858541"/>
                <a:gd name="connsiteX2" fmla="*/ 0 w 1040749"/>
                <a:gd name="connsiteY2" fmla="*/ 6858541 h 6858541"/>
                <a:gd name="connsiteX3" fmla="*/ 225 w 1040749"/>
                <a:gd name="connsiteY3" fmla="*/ 0 h 6858541"/>
                <a:gd name="connsiteX0" fmla="*/ 225 w 1040749"/>
                <a:gd name="connsiteY0" fmla="*/ 0 h 6835083"/>
                <a:gd name="connsiteX1" fmla="*/ 1040749 w 1040749"/>
                <a:gd name="connsiteY1" fmla="*/ 1762221 h 6835083"/>
                <a:gd name="connsiteX2" fmla="*/ 0 w 1040749"/>
                <a:gd name="connsiteY2" fmla="*/ 6835083 h 6835083"/>
                <a:gd name="connsiteX3" fmla="*/ 225 w 1040749"/>
                <a:gd name="connsiteY3" fmla="*/ 0 h 6835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0749" h="6835083">
                  <a:moveTo>
                    <a:pt x="225" y="0"/>
                  </a:moveTo>
                  <a:lnTo>
                    <a:pt x="1040749" y="1762221"/>
                  </a:lnTo>
                  <a:lnTo>
                    <a:pt x="0" y="6835083"/>
                  </a:lnTo>
                  <a:lnTo>
                    <a:pt x="225" y="0"/>
                  </a:lnTo>
                  <a:close/>
                </a:path>
              </a:pathLst>
            </a:custGeom>
            <a:gradFill>
              <a:gsLst>
                <a:gs pos="96000">
                  <a:schemeClr val="accent3"/>
                </a:gs>
                <a:gs pos="18000">
                  <a:schemeClr val="accent2"/>
                </a:gs>
              </a:gsLst>
              <a:lin ang="72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5" name="Freeform 14"/>
            <p:cNvSpPr/>
            <p:nvPr/>
          </p:nvSpPr>
          <p:spPr>
            <a:xfrm>
              <a:off x="3119436" y="-1"/>
              <a:ext cx="3260163" cy="3022037"/>
            </a:xfrm>
            <a:custGeom>
              <a:avLst/>
              <a:gdLst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85737 w 3228975"/>
                <a:gd name="connsiteY3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1976437 w 3228975"/>
                <a:gd name="connsiteY3" fmla="*/ 1776413 h 3024188"/>
                <a:gd name="connsiteX4" fmla="*/ 185737 w 3228975"/>
                <a:gd name="connsiteY4" fmla="*/ 0 h 3024188"/>
                <a:gd name="connsiteX0" fmla="*/ 185737 w 3228975"/>
                <a:gd name="connsiteY0" fmla="*/ 0 h 3024188"/>
                <a:gd name="connsiteX1" fmla="*/ 0 w 3228975"/>
                <a:gd name="connsiteY1" fmla="*/ 1771650 h 3024188"/>
                <a:gd name="connsiteX2" fmla="*/ 3228975 w 3228975"/>
                <a:gd name="connsiteY2" fmla="*/ 3024188 h 3024188"/>
                <a:gd name="connsiteX3" fmla="*/ 2733674 w 3228975"/>
                <a:gd name="connsiteY3" fmla="*/ 1281113 h 3024188"/>
                <a:gd name="connsiteX4" fmla="*/ 185737 w 3228975"/>
                <a:gd name="connsiteY4" fmla="*/ 0 h 3024188"/>
                <a:gd name="connsiteX0" fmla="*/ 185737 w 3181350"/>
                <a:gd name="connsiteY0" fmla="*/ 0 h 2481263"/>
                <a:gd name="connsiteX1" fmla="*/ 0 w 3181350"/>
                <a:gd name="connsiteY1" fmla="*/ 1771650 h 2481263"/>
                <a:gd name="connsiteX2" fmla="*/ 3181350 w 3181350"/>
                <a:gd name="connsiteY2" fmla="*/ 2481263 h 2481263"/>
                <a:gd name="connsiteX3" fmla="*/ 2733674 w 3181350"/>
                <a:gd name="connsiteY3" fmla="*/ 1281113 h 2481263"/>
                <a:gd name="connsiteX4" fmla="*/ 185737 w 3181350"/>
                <a:gd name="connsiteY4" fmla="*/ 0 h 24812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1113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2733674 w 3214688"/>
                <a:gd name="connsiteY3" fmla="*/ 1285876 h 3014663"/>
                <a:gd name="connsiteX4" fmla="*/ 185737 w 3214688"/>
                <a:gd name="connsiteY4" fmla="*/ 0 h 3014663"/>
                <a:gd name="connsiteX0" fmla="*/ 185737 w 3214688"/>
                <a:gd name="connsiteY0" fmla="*/ 0 h 3014663"/>
                <a:gd name="connsiteX1" fmla="*/ 0 w 3214688"/>
                <a:gd name="connsiteY1" fmla="*/ 1771650 h 3014663"/>
                <a:gd name="connsiteX2" fmla="*/ 3214688 w 3214688"/>
                <a:gd name="connsiteY2" fmla="*/ 3014663 h 3014663"/>
                <a:gd name="connsiteX3" fmla="*/ 185737 w 3214688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81175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190500 w 3219451"/>
                <a:gd name="connsiteY0" fmla="*/ 0 h 3014663"/>
                <a:gd name="connsiteX1" fmla="*/ 0 w 3219451"/>
                <a:gd name="connsiteY1" fmla="*/ 1766887 h 3014663"/>
                <a:gd name="connsiteX2" fmla="*/ 3219451 w 3219451"/>
                <a:gd name="connsiteY2" fmla="*/ 3014663 h 3014663"/>
                <a:gd name="connsiteX3" fmla="*/ 190500 w 3219451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7165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14663"/>
                <a:gd name="connsiteX1" fmla="*/ 0 w 3252789"/>
                <a:gd name="connsiteY1" fmla="*/ 1790700 h 3014663"/>
                <a:gd name="connsiteX2" fmla="*/ 3252789 w 3252789"/>
                <a:gd name="connsiteY2" fmla="*/ 3014663 h 3014663"/>
                <a:gd name="connsiteX3" fmla="*/ 223838 w 3252789"/>
                <a:gd name="connsiteY3" fmla="*/ 0 h 3014663"/>
                <a:gd name="connsiteX0" fmla="*/ 223838 w 3252789"/>
                <a:gd name="connsiteY0" fmla="*/ 0 h 3022037"/>
                <a:gd name="connsiteX1" fmla="*/ 0 w 3252789"/>
                <a:gd name="connsiteY1" fmla="*/ 1790700 h 3022037"/>
                <a:gd name="connsiteX2" fmla="*/ 3252789 w 3252789"/>
                <a:gd name="connsiteY2" fmla="*/ 3022037 h 3022037"/>
                <a:gd name="connsiteX3" fmla="*/ 223838 w 3252789"/>
                <a:gd name="connsiteY3" fmla="*/ 0 h 3022037"/>
                <a:gd name="connsiteX0" fmla="*/ 223838 w 3260163"/>
                <a:gd name="connsiteY0" fmla="*/ 0 h 3014663"/>
                <a:gd name="connsiteX1" fmla="*/ 0 w 3260163"/>
                <a:gd name="connsiteY1" fmla="*/ 1790700 h 3014663"/>
                <a:gd name="connsiteX2" fmla="*/ 3260163 w 3260163"/>
                <a:gd name="connsiteY2" fmla="*/ 3014663 h 3014663"/>
                <a:gd name="connsiteX3" fmla="*/ 223838 w 3260163"/>
                <a:gd name="connsiteY3" fmla="*/ 0 h 3014663"/>
                <a:gd name="connsiteX0" fmla="*/ 223838 w 3260163"/>
                <a:gd name="connsiteY0" fmla="*/ 0 h 3022037"/>
                <a:gd name="connsiteX1" fmla="*/ 0 w 3260163"/>
                <a:gd name="connsiteY1" fmla="*/ 1790700 h 3022037"/>
                <a:gd name="connsiteX2" fmla="*/ 3260163 w 3260163"/>
                <a:gd name="connsiteY2" fmla="*/ 3022037 h 3022037"/>
                <a:gd name="connsiteX3" fmla="*/ 223838 w 3260163"/>
                <a:gd name="connsiteY3" fmla="*/ 0 h 302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163" h="3022037">
                  <a:moveTo>
                    <a:pt x="223838" y="0"/>
                  </a:moveTo>
                  <a:lnTo>
                    <a:pt x="0" y="1790700"/>
                  </a:lnTo>
                  <a:lnTo>
                    <a:pt x="3260163" y="3022037"/>
                  </a:lnTo>
                  <a:lnTo>
                    <a:pt x="22383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6000">
                  <a:schemeClr val="accent2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3343275" y="0"/>
              <a:ext cx="4337998" cy="3019426"/>
            </a:xfrm>
            <a:custGeom>
              <a:avLst/>
              <a:gdLst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24350"/>
                <a:gd name="connsiteY0" fmla="*/ 0 h 3019426"/>
                <a:gd name="connsiteX1" fmla="*/ 4324350 w 4324350"/>
                <a:gd name="connsiteY1" fmla="*/ 1214438 h 3019426"/>
                <a:gd name="connsiteX2" fmla="*/ 3028950 w 4324350"/>
                <a:gd name="connsiteY2" fmla="*/ 3019426 h 3019426"/>
                <a:gd name="connsiteX3" fmla="*/ 0 w 4324350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28950 w 4337998"/>
                <a:gd name="connsiteY2" fmla="*/ 3019426 h 3019426"/>
                <a:gd name="connsiteX3" fmla="*/ 0 w 4337998"/>
                <a:gd name="connsiteY3" fmla="*/ 0 h 3019426"/>
                <a:gd name="connsiteX0" fmla="*/ 0 w 4337998"/>
                <a:gd name="connsiteY0" fmla="*/ 0 h 3019426"/>
                <a:gd name="connsiteX1" fmla="*/ 4337998 w 4337998"/>
                <a:gd name="connsiteY1" fmla="*/ 1214438 h 3019426"/>
                <a:gd name="connsiteX2" fmla="*/ 3015303 w 4337998"/>
                <a:gd name="connsiteY2" fmla="*/ 3019426 h 3019426"/>
                <a:gd name="connsiteX3" fmla="*/ 0 w 4337998"/>
                <a:gd name="connsiteY3" fmla="*/ 0 h 301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37998" h="3019426">
                  <a:moveTo>
                    <a:pt x="0" y="0"/>
                  </a:moveTo>
                  <a:lnTo>
                    <a:pt x="4337998" y="1214438"/>
                  </a:lnTo>
                  <a:lnTo>
                    <a:pt x="3015303" y="30194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5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r>
                <a:rPr lang="en-US" sz="2000"/>
                <a:t>s</a:t>
              </a:r>
              <a:endParaRPr lang="en-US" sz="2000" dirty="0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7667625" y="1"/>
              <a:ext cx="4533261" cy="1214438"/>
            </a:xfrm>
            <a:custGeom>
              <a:avLst/>
              <a:gdLst>
                <a:gd name="connsiteX0" fmla="*/ 3367088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67088 w 4524375"/>
                <a:gd name="connsiteY3" fmla="*/ 0 h 1223963"/>
                <a:gd name="connsiteX0" fmla="*/ 3352800 w 4524375"/>
                <a:gd name="connsiteY0" fmla="*/ 0 h 1233489"/>
                <a:gd name="connsiteX1" fmla="*/ 0 w 4524375"/>
                <a:gd name="connsiteY1" fmla="*/ 1233489 h 1233489"/>
                <a:gd name="connsiteX2" fmla="*/ 4524375 w 4524375"/>
                <a:gd name="connsiteY2" fmla="*/ 1081089 h 1233489"/>
                <a:gd name="connsiteX3" fmla="*/ 3352800 w 4524375"/>
                <a:gd name="connsiteY3" fmla="*/ 0 h 1233489"/>
                <a:gd name="connsiteX0" fmla="*/ 3352800 w 4524375"/>
                <a:gd name="connsiteY0" fmla="*/ 0 h 1228726"/>
                <a:gd name="connsiteX1" fmla="*/ 0 w 4524375"/>
                <a:gd name="connsiteY1" fmla="*/ 1228726 h 1228726"/>
                <a:gd name="connsiteX2" fmla="*/ 4524375 w 4524375"/>
                <a:gd name="connsiteY2" fmla="*/ 1076326 h 1228726"/>
                <a:gd name="connsiteX3" fmla="*/ 3352800 w 4524375"/>
                <a:gd name="connsiteY3" fmla="*/ 0 h 1228726"/>
                <a:gd name="connsiteX0" fmla="*/ 3357563 w 4524375"/>
                <a:gd name="connsiteY0" fmla="*/ 0 h 1223963"/>
                <a:gd name="connsiteX1" fmla="*/ 0 w 4524375"/>
                <a:gd name="connsiteY1" fmla="*/ 1223963 h 1223963"/>
                <a:gd name="connsiteX2" fmla="*/ 4524375 w 4524375"/>
                <a:gd name="connsiteY2" fmla="*/ 1071563 h 1223963"/>
                <a:gd name="connsiteX3" fmla="*/ 3357563 w 4524375"/>
                <a:gd name="connsiteY3" fmla="*/ 0 h 1223963"/>
                <a:gd name="connsiteX0" fmla="*/ 3371851 w 4538663"/>
                <a:gd name="connsiteY0" fmla="*/ 0 h 1219200"/>
                <a:gd name="connsiteX1" fmla="*/ 0 w 4538663"/>
                <a:gd name="connsiteY1" fmla="*/ 1219200 h 1219200"/>
                <a:gd name="connsiteX2" fmla="*/ 4538663 w 4538663"/>
                <a:gd name="connsiteY2" fmla="*/ 1071563 h 1219200"/>
                <a:gd name="connsiteX3" fmla="*/ 3371851 w 4538663"/>
                <a:gd name="connsiteY3" fmla="*/ 0 h 1219200"/>
                <a:gd name="connsiteX0" fmla="*/ 3243264 w 4410076"/>
                <a:gd name="connsiteY0" fmla="*/ 0 h 1071563"/>
                <a:gd name="connsiteX1" fmla="*/ 0 w 4410076"/>
                <a:gd name="connsiteY1" fmla="*/ 1033463 h 1071563"/>
                <a:gd name="connsiteX2" fmla="*/ 4410076 w 4410076"/>
                <a:gd name="connsiteY2" fmla="*/ 1071563 h 1071563"/>
                <a:gd name="connsiteX3" fmla="*/ 3243264 w 4410076"/>
                <a:gd name="connsiteY3" fmla="*/ 0 h 1071563"/>
                <a:gd name="connsiteX0" fmla="*/ 3352801 w 4519613"/>
                <a:gd name="connsiteY0" fmla="*/ 0 h 1214438"/>
                <a:gd name="connsiteX1" fmla="*/ 0 w 4519613"/>
                <a:gd name="connsiteY1" fmla="*/ 1214438 h 1214438"/>
                <a:gd name="connsiteX2" fmla="*/ 4519613 w 4519613"/>
                <a:gd name="connsiteY2" fmla="*/ 1071563 h 1214438"/>
                <a:gd name="connsiteX3" fmla="*/ 3352801 w 4519613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71563 h 1214438"/>
                <a:gd name="connsiteX3" fmla="*/ 3352801 w 4533261"/>
                <a:gd name="connsiteY3" fmla="*/ 0 h 1214438"/>
                <a:gd name="connsiteX0" fmla="*/ 3352801 w 4533261"/>
                <a:gd name="connsiteY0" fmla="*/ 0 h 1214438"/>
                <a:gd name="connsiteX1" fmla="*/ 0 w 4533261"/>
                <a:gd name="connsiteY1" fmla="*/ 1214438 h 1214438"/>
                <a:gd name="connsiteX2" fmla="*/ 4533261 w 4533261"/>
                <a:gd name="connsiteY2" fmla="*/ 1098859 h 1214438"/>
                <a:gd name="connsiteX3" fmla="*/ 3352801 w 4533261"/>
                <a:gd name="connsiteY3" fmla="*/ 0 h 121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3261" h="1214438">
                  <a:moveTo>
                    <a:pt x="3352801" y="0"/>
                  </a:moveTo>
                  <a:lnTo>
                    <a:pt x="0" y="1214438"/>
                  </a:lnTo>
                  <a:lnTo>
                    <a:pt x="4533261" y="1098859"/>
                  </a:lnTo>
                  <a:lnTo>
                    <a:pt x="3352801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11015664" y="1"/>
              <a:ext cx="1176841" cy="1098080"/>
            </a:xfrm>
            <a:custGeom>
              <a:avLst/>
              <a:gdLst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1575"/>
                <a:gd name="connsiteY0" fmla="*/ 0 h 1076325"/>
                <a:gd name="connsiteX1" fmla="*/ 1171575 w 1171575"/>
                <a:gd name="connsiteY1" fmla="*/ 1076325 h 1076325"/>
                <a:gd name="connsiteX2" fmla="*/ 1171575 w 1171575"/>
                <a:gd name="connsiteY2" fmla="*/ 0 h 1076325"/>
                <a:gd name="connsiteX3" fmla="*/ 0 w 1171575"/>
                <a:gd name="connsiteY3" fmla="*/ 0 h 1076325"/>
                <a:gd name="connsiteX0" fmla="*/ 0 w 1176299"/>
                <a:gd name="connsiteY0" fmla="*/ 0 h 1085850"/>
                <a:gd name="connsiteX1" fmla="*/ 1176299 w 1176299"/>
                <a:gd name="connsiteY1" fmla="*/ 1085850 h 1085850"/>
                <a:gd name="connsiteX2" fmla="*/ 1171575 w 1176299"/>
                <a:gd name="connsiteY2" fmla="*/ 0 h 1085850"/>
                <a:gd name="connsiteX3" fmla="*/ 0 w 1176299"/>
                <a:gd name="connsiteY3" fmla="*/ 0 h 1085850"/>
                <a:gd name="connsiteX0" fmla="*/ 0 w 1181344"/>
                <a:gd name="connsiteY0" fmla="*/ 0 h 1085850"/>
                <a:gd name="connsiteX1" fmla="*/ 1176299 w 1181344"/>
                <a:gd name="connsiteY1" fmla="*/ 1085850 h 1085850"/>
                <a:gd name="connsiteX2" fmla="*/ 1181138 w 1181344"/>
                <a:gd name="connsiteY2" fmla="*/ 0 h 1085850"/>
                <a:gd name="connsiteX3" fmla="*/ 0 w 1181344"/>
                <a:gd name="connsiteY3" fmla="*/ 0 h 1085850"/>
                <a:gd name="connsiteX0" fmla="*/ 0 w 1181586"/>
                <a:gd name="connsiteY0" fmla="*/ 0 h 1081088"/>
                <a:gd name="connsiteX1" fmla="*/ 1181080 w 1181586"/>
                <a:gd name="connsiteY1" fmla="*/ 1081088 h 1081088"/>
                <a:gd name="connsiteX2" fmla="*/ 1181138 w 1181586"/>
                <a:gd name="connsiteY2" fmla="*/ 0 h 1081088"/>
                <a:gd name="connsiteX3" fmla="*/ 0 w 1181586"/>
                <a:gd name="connsiteY3" fmla="*/ 0 h 1081088"/>
                <a:gd name="connsiteX0" fmla="*/ 0 w 1181586"/>
                <a:gd name="connsiteY0" fmla="*/ 0 h 1070785"/>
                <a:gd name="connsiteX1" fmla="*/ 1181080 w 1181586"/>
                <a:gd name="connsiteY1" fmla="*/ 1070785 h 1070785"/>
                <a:gd name="connsiteX2" fmla="*/ 1181138 w 1181586"/>
                <a:gd name="connsiteY2" fmla="*/ 0 h 1070785"/>
                <a:gd name="connsiteX3" fmla="*/ 0 w 1181586"/>
                <a:gd name="connsiteY3" fmla="*/ 0 h 1070785"/>
                <a:gd name="connsiteX0" fmla="*/ 0 w 1181152"/>
                <a:gd name="connsiteY0" fmla="*/ 0 h 593113"/>
                <a:gd name="connsiteX1" fmla="*/ 1057755 w 1181152"/>
                <a:gd name="connsiteY1" fmla="*/ 593113 h 593113"/>
                <a:gd name="connsiteX2" fmla="*/ 1181138 w 1181152"/>
                <a:gd name="connsiteY2" fmla="*/ 0 h 593113"/>
                <a:gd name="connsiteX3" fmla="*/ 0 w 1181152"/>
                <a:gd name="connsiteY3" fmla="*/ 0 h 593113"/>
                <a:gd name="connsiteX0" fmla="*/ 0 w 1181586"/>
                <a:gd name="connsiteY0" fmla="*/ 0 h 1098080"/>
                <a:gd name="connsiteX1" fmla="*/ 1181081 w 1181586"/>
                <a:gd name="connsiteY1" fmla="*/ 1098080 h 1098080"/>
                <a:gd name="connsiteX2" fmla="*/ 1181138 w 1181586"/>
                <a:gd name="connsiteY2" fmla="*/ 0 h 1098080"/>
                <a:gd name="connsiteX3" fmla="*/ 0 w 1181586"/>
                <a:gd name="connsiteY3" fmla="*/ 0 h 1098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1586" h="1098080">
                  <a:moveTo>
                    <a:pt x="0" y="0"/>
                  </a:moveTo>
                  <a:lnTo>
                    <a:pt x="1181081" y="1098080"/>
                  </a:lnTo>
                  <a:cubicBezTo>
                    <a:pt x="1179506" y="736130"/>
                    <a:pt x="1182713" y="361950"/>
                    <a:pt x="1181138" y="0"/>
                  </a:cubicBez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19" name="Freeform 18"/>
            <p:cNvSpPr/>
            <p:nvPr/>
          </p:nvSpPr>
          <p:spPr>
            <a:xfrm>
              <a:off x="10959906" y="1057275"/>
              <a:ext cx="1232552" cy="3276600"/>
            </a:xfrm>
            <a:custGeom>
              <a:avLst/>
              <a:gdLst>
                <a:gd name="connsiteX0" fmla="*/ 1171575 w 1176337"/>
                <a:gd name="connsiteY0" fmla="*/ 0 h 3267075"/>
                <a:gd name="connsiteX1" fmla="*/ 0 w 1176337"/>
                <a:gd name="connsiteY1" fmla="*/ 2762250 h 3267075"/>
                <a:gd name="connsiteX2" fmla="*/ 1176337 w 1176337"/>
                <a:gd name="connsiteY2" fmla="*/ 3267075 h 3267075"/>
                <a:gd name="connsiteX3" fmla="*/ 1171575 w 1176337"/>
                <a:gd name="connsiteY3" fmla="*/ 0 h 3267075"/>
                <a:gd name="connsiteX0" fmla="*/ 1176337 w 1176795"/>
                <a:gd name="connsiteY0" fmla="*/ 0 h 3276600"/>
                <a:gd name="connsiteX1" fmla="*/ 0 w 1176795"/>
                <a:gd name="connsiteY1" fmla="*/ 2771775 h 3276600"/>
                <a:gd name="connsiteX2" fmla="*/ 1176337 w 1176795"/>
                <a:gd name="connsiteY2" fmla="*/ 3276600 h 3276600"/>
                <a:gd name="connsiteX3" fmla="*/ 1176337 w 1176795"/>
                <a:gd name="connsiteY3" fmla="*/ 0 h 3276600"/>
                <a:gd name="connsiteX0" fmla="*/ 1209791 w 1210249"/>
                <a:gd name="connsiteY0" fmla="*/ 0 h 3276600"/>
                <a:gd name="connsiteX1" fmla="*/ 0 w 1210249"/>
                <a:gd name="connsiteY1" fmla="*/ 2771775 h 3276600"/>
                <a:gd name="connsiteX2" fmla="*/ 1209791 w 1210249"/>
                <a:gd name="connsiteY2" fmla="*/ 3276600 h 3276600"/>
                <a:gd name="connsiteX3" fmla="*/ 1209791 w 1210249"/>
                <a:gd name="connsiteY3" fmla="*/ 0 h 3276600"/>
                <a:gd name="connsiteX0" fmla="*/ 1232094 w 1232552"/>
                <a:gd name="connsiteY0" fmla="*/ 0 h 3276600"/>
                <a:gd name="connsiteX1" fmla="*/ 0 w 1232552"/>
                <a:gd name="connsiteY1" fmla="*/ 2749472 h 3276600"/>
                <a:gd name="connsiteX2" fmla="*/ 1232094 w 1232552"/>
                <a:gd name="connsiteY2" fmla="*/ 3276600 h 3276600"/>
                <a:gd name="connsiteX3" fmla="*/ 1232094 w 1232552"/>
                <a:gd name="connsiteY3" fmla="*/ 0 h 3276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2552" h="3276600">
                  <a:moveTo>
                    <a:pt x="1232094" y="0"/>
                  </a:moveTo>
                  <a:lnTo>
                    <a:pt x="0" y="2749472"/>
                  </a:lnTo>
                  <a:lnTo>
                    <a:pt x="1232094" y="3276600"/>
                  </a:lnTo>
                  <a:cubicBezTo>
                    <a:pt x="1230507" y="2187575"/>
                    <a:pt x="1233681" y="1089025"/>
                    <a:pt x="1232094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0" name="Freeform 19"/>
            <p:cNvSpPr/>
            <p:nvPr/>
          </p:nvSpPr>
          <p:spPr>
            <a:xfrm>
              <a:off x="6366969" y="2428875"/>
              <a:ext cx="3339005" cy="2271713"/>
            </a:xfrm>
            <a:custGeom>
              <a:avLst/>
              <a:gdLst>
                <a:gd name="connsiteX0" fmla="*/ 0 w 3324225"/>
                <a:gd name="connsiteY0" fmla="*/ 590550 h 2271713"/>
                <a:gd name="connsiteX1" fmla="*/ 1343025 w 3324225"/>
                <a:gd name="connsiteY1" fmla="*/ 2271713 h 2271713"/>
                <a:gd name="connsiteX2" fmla="*/ 3324225 w 3324225"/>
                <a:gd name="connsiteY2" fmla="*/ 0 h 2271713"/>
                <a:gd name="connsiteX3" fmla="*/ 0 w 3324225"/>
                <a:gd name="connsiteY3" fmla="*/ 590550 h 2271713"/>
                <a:gd name="connsiteX0" fmla="*/ 0 w 3333750"/>
                <a:gd name="connsiteY0" fmla="*/ 585787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85787 h 2271713"/>
                <a:gd name="connsiteX0" fmla="*/ 0 w 3333750"/>
                <a:gd name="connsiteY0" fmla="*/ 591043 h 2271713"/>
                <a:gd name="connsiteX1" fmla="*/ 1352550 w 3333750"/>
                <a:gd name="connsiteY1" fmla="*/ 2271713 h 2271713"/>
                <a:gd name="connsiteX2" fmla="*/ 3333750 w 3333750"/>
                <a:gd name="connsiteY2" fmla="*/ 0 h 2271713"/>
                <a:gd name="connsiteX3" fmla="*/ 0 w 3333750"/>
                <a:gd name="connsiteY3" fmla="*/ 591043 h 2271713"/>
                <a:gd name="connsiteX0" fmla="*/ 0 w 3339005"/>
                <a:gd name="connsiteY0" fmla="*/ 591043 h 2271713"/>
                <a:gd name="connsiteX1" fmla="*/ 1357805 w 3339005"/>
                <a:gd name="connsiteY1" fmla="*/ 2271713 h 2271713"/>
                <a:gd name="connsiteX2" fmla="*/ 3339005 w 3339005"/>
                <a:gd name="connsiteY2" fmla="*/ 0 h 2271713"/>
                <a:gd name="connsiteX3" fmla="*/ 0 w 3339005"/>
                <a:gd name="connsiteY3" fmla="*/ 591043 h 2271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9005" h="2271713">
                  <a:moveTo>
                    <a:pt x="0" y="591043"/>
                  </a:moveTo>
                  <a:lnTo>
                    <a:pt x="1357805" y="2271713"/>
                  </a:lnTo>
                  <a:lnTo>
                    <a:pt x="3339005" y="0"/>
                  </a:lnTo>
                  <a:lnTo>
                    <a:pt x="0" y="59104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2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1025774" y="1761707"/>
              <a:ext cx="2098477" cy="1910094"/>
            </a:xfrm>
            <a:custGeom>
              <a:avLst/>
              <a:gdLst>
                <a:gd name="connsiteX0" fmla="*/ 2086304 w 2086304"/>
                <a:gd name="connsiteY0" fmla="*/ 0 h 1886607"/>
                <a:gd name="connsiteX1" fmla="*/ 0 w 2086304"/>
                <a:gd name="connsiteY1" fmla="*/ 15765 h 1886607"/>
                <a:gd name="connsiteX2" fmla="*/ 362607 w 2086304"/>
                <a:gd name="connsiteY2" fmla="*/ 1886607 h 1886607"/>
                <a:gd name="connsiteX3" fmla="*/ 2086304 w 2086304"/>
                <a:gd name="connsiteY3" fmla="*/ 0 h 1886607"/>
                <a:gd name="connsiteX0" fmla="*/ 2101053 w 2101053"/>
                <a:gd name="connsiteY0" fmla="*/ 0 h 1886607"/>
                <a:gd name="connsiteX1" fmla="*/ 0 w 2101053"/>
                <a:gd name="connsiteY1" fmla="*/ 1207 h 1886607"/>
                <a:gd name="connsiteX2" fmla="*/ 377356 w 2101053"/>
                <a:gd name="connsiteY2" fmla="*/ 1886607 h 1886607"/>
                <a:gd name="connsiteX3" fmla="*/ 2101053 w 2101053"/>
                <a:gd name="connsiteY3" fmla="*/ 0 h 1886607"/>
                <a:gd name="connsiteX0" fmla="*/ 2098477 w 2098477"/>
                <a:gd name="connsiteY0" fmla="*/ 8963 h 1885400"/>
                <a:gd name="connsiteX1" fmla="*/ 0 w 2098477"/>
                <a:gd name="connsiteY1" fmla="*/ 0 h 1885400"/>
                <a:gd name="connsiteX2" fmla="*/ 377356 w 2098477"/>
                <a:gd name="connsiteY2" fmla="*/ 1885400 h 1885400"/>
                <a:gd name="connsiteX3" fmla="*/ 2098477 w 2098477"/>
                <a:gd name="connsiteY3" fmla="*/ 8963 h 188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8477" h="1885400">
                  <a:moveTo>
                    <a:pt x="2098477" y="8963"/>
                  </a:moveTo>
                  <a:lnTo>
                    <a:pt x="0" y="0"/>
                  </a:lnTo>
                  <a:lnTo>
                    <a:pt x="377356" y="1885400"/>
                  </a:lnTo>
                  <a:lnTo>
                    <a:pt x="2098477" y="8963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3532" y="4857972"/>
              <a:ext cx="4090198" cy="2007612"/>
            </a:xfrm>
            <a:custGeom>
              <a:avLst/>
              <a:gdLst>
                <a:gd name="connsiteX0" fmla="*/ 3576398 w 4077729"/>
                <a:gd name="connsiteY0" fmla="*/ 0 h 1994733"/>
                <a:gd name="connsiteX1" fmla="*/ 4077729 w 4077729"/>
                <a:gd name="connsiteY1" fmla="*/ 1101516 h 1994733"/>
                <a:gd name="connsiteX2" fmla="*/ 0 w 4077729"/>
                <a:gd name="connsiteY2" fmla="*/ 1994733 h 1994733"/>
                <a:gd name="connsiteX3" fmla="*/ 3576398 w 4077729"/>
                <a:gd name="connsiteY3" fmla="*/ 0 h 1994733"/>
                <a:gd name="connsiteX0" fmla="*/ 3576398 w 4086042"/>
                <a:gd name="connsiteY0" fmla="*/ 0 h 1994733"/>
                <a:gd name="connsiteX1" fmla="*/ 4086042 w 4086042"/>
                <a:gd name="connsiteY1" fmla="*/ 1093204 h 1994733"/>
                <a:gd name="connsiteX2" fmla="*/ 0 w 4086042"/>
                <a:gd name="connsiteY2" fmla="*/ 1994733 h 1994733"/>
                <a:gd name="connsiteX3" fmla="*/ 3576398 w 4086042"/>
                <a:gd name="connsiteY3" fmla="*/ 0 h 1994733"/>
                <a:gd name="connsiteX0" fmla="*/ 3576398 w 4090198"/>
                <a:gd name="connsiteY0" fmla="*/ 0 h 1994733"/>
                <a:gd name="connsiteX1" fmla="*/ 4090198 w 4090198"/>
                <a:gd name="connsiteY1" fmla="*/ 1084892 h 1994733"/>
                <a:gd name="connsiteX2" fmla="*/ 0 w 4090198"/>
                <a:gd name="connsiteY2" fmla="*/ 1994733 h 1994733"/>
                <a:gd name="connsiteX3" fmla="*/ 3576398 w 4090198"/>
                <a:gd name="connsiteY3" fmla="*/ 0 h 1994733"/>
                <a:gd name="connsiteX0" fmla="*/ 3576398 w 4090198"/>
                <a:gd name="connsiteY0" fmla="*/ 0 h 2007612"/>
                <a:gd name="connsiteX1" fmla="*/ 4090198 w 4090198"/>
                <a:gd name="connsiteY1" fmla="*/ 1084892 h 2007612"/>
                <a:gd name="connsiteX2" fmla="*/ 0 w 4090198"/>
                <a:gd name="connsiteY2" fmla="*/ 2007612 h 2007612"/>
                <a:gd name="connsiteX3" fmla="*/ 3576398 w 4090198"/>
                <a:gd name="connsiteY3" fmla="*/ 0 h 2007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0198" h="2007612">
                  <a:moveTo>
                    <a:pt x="3576398" y="0"/>
                  </a:moveTo>
                  <a:lnTo>
                    <a:pt x="4090198" y="1084892"/>
                  </a:lnTo>
                  <a:lnTo>
                    <a:pt x="0" y="2007612"/>
                  </a:lnTo>
                  <a:lnTo>
                    <a:pt x="357639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3" name="Freeform 22"/>
            <p:cNvSpPr/>
            <p:nvPr/>
          </p:nvSpPr>
          <p:spPr>
            <a:xfrm>
              <a:off x="-6301" y="5938309"/>
              <a:ext cx="4092304" cy="924304"/>
            </a:xfrm>
            <a:custGeom>
              <a:avLst/>
              <a:gdLst>
                <a:gd name="connsiteX0" fmla="*/ 4074199 w 4074199"/>
                <a:gd name="connsiteY0" fmla="*/ 0 h 907339"/>
                <a:gd name="connsiteX1" fmla="*/ 3357507 w 4074199"/>
                <a:gd name="connsiteY1" fmla="*/ 907339 h 907339"/>
                <a:gd name="connsiteX2" fmla="*/ 0 w 4074199"/>
                <a:gd name="connsiteY2" fmla="*/ 907339 h 907339"/>
                <a:gd name="connsiteX3" fmla="*/ 4074199 w 4074199"/>
                <a:gd name="connsiteY3" fmla="*/ 0 h 907339"/>
                <a:gd name="connsiteX0" fmla="*/ 4084791 w 4084791"/>
                <a:gd name="connsiteY0" fmla="*/ 0 h 907339"/>
                <a:gd name="connsiteX1" fmla="*/ 3368099 w 4084791"/>
                <a:gd name="connsiteY1" fmla="*/ 907339 h 907339"/>
                <a:gd name="connsiteX2" fmla="*/ 0 w 4084791"/>
                <a:gd name="connsiteY2" fmla="*/ 907339 h 907339"/>
                <a:gd name="connsiteX3" fmla="*/ 4084791 w 4084791"/>
                <a:gd name="connsiteY3" fmla="*/ 0 h 907339"/>
                <a:gd name="connsiteX0" fmla="*/ 4100031 w 4100031"/>
                <a:gd name="connsiteY0" fmla="*/ 0 h 907339"/>
                <a:gd name="connsiteX1" fmla="*/ 3368099 w 4100031"/>
                <a:gd name="connsiteY1" fmla="*/ 907339 h 907339"/>
                <a:gd name="connsiteX2" fmla="*/ 0 w 4100031"/>
                <a:gd name="connsiteY2" fmla="*/ 907339 h 907339"/>
                <a:gd name="connsiteX3" fmla="*/ 4100031 w 4100031"/>
                <a:gd name="connsiteY3" fmla="*/ 0 h 907339"/>
                <a:gd name="connsiteX0" fmla="*/ 4102607 w 4102607"/>
                <a:gd name="connsiteY0" fmla="*/ 0 h 907339"/>
                <a:gd name="connsiteX1" fmla="*/ 3370675 w 4102607"/>
                <a:gd name="connsiteY1" fmla="*/ 907339 h 907339"/>
                <a:gd name="connsiteX2" fmla="*/ 0 w 4102607"/>
                <a:gd name="connsiteY2" fmla="*/ 857464 h 907339"/>
                <a:gd name="connsiteX3" fmla="*/ 4102607 w 4102607"/>
                <a:gd name="connsiteY3" fmla="*/ 0 h 907339"/>
                <a:gd name="connsiteX0" fmla="*/ 4097455 w 4097455"/>
                <a:gd name="connsiteY0" fmla="*/ 0 h 907339"/>
                <a:gd name="connsiteX1" fmla="*/ 3365523 w 4097455"/>
                <a:gd name="connsiteY1" fmla="*/ 907339 h 907339"/>
                <a:gd name="connsiteX2" fmla="*/ 0 w 4097455"/>
                <a:gd name="connsiteY2" fmla="*/ 859958 h 907339"/>
                <a:gd name="connsiteX3" fmla="*/ 4097455 w 4097455"/>
                <a:gd name="connsiteY3" fmla="*/ 0 h 907339"/>
                <a:gd name="connsiteX0" fmla="*/ 4097455 w 4097455"/>
                <a:gd name="connsiteY0" fmla="*/ 0 h 862451"/>
                <a:gd name="connsiteX1" fmla="*/ 3411887 w 4097455"/>
                <a:gd name="connsiteY1" fmla="*/ 862451 h 862451"/>
                <a:gd name="connsiteX2" fmla="*/ 0 w 4097455"/>
                <a:gd name="connsiteY2" fmla="*/ 859958 h 862451"/>
                <a:gd name="connsiteX3" fmla="*/ 4097455 w 4097455"/>
                <a:gd name="connsiteY3" fmla="*/ 0 h 862451"/>
                <a:gd name="connsiteX0" fmla="*/ 4089728 w 4089728"/>
                <a:gd name="connsiteY0" fmla="*/ 0 h 892377"/>
                <a:gd name="connsiteX1" fmla="*/ 3411887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92377"/>
                <a:gd name="connsiteX1" fmla="*/ 3424766 w 4089728"/>
                <a:gd name="connsiteY1" fmla="*/ 892377 h 892377"/>
                <a:gd name="connsiteX2" fmla="*/ 0 w 4089728"/>
                <a:gd name="connsiteY2" fmla="*/ 889884 h 892377"/>
                <a:gd name="connsiteX3" fmla="*/ 4089728 w 4089728"/>
                <a:gd name="connsiteY3" fmla="*/ 0 h 892377"/>
                <a:gd name="connsiteX0" fmla="*/ 4089728 w 4089728"/>
                <a:gd name="connsiteY0" fmla="*/ 0 h 889884"/>
                <a:gd name="connsiteX1" fmla="*/ 3360372 w 4089728"/>
                <a:gd name="connsiteY1" fmla="*/ 889884 h 889884"/>
                <a:gd name="connsiteX2" fmla="*/ 0 w 4089728"/>
                <a:gd name="connsiteY2" fmla="*/ 889884 h 889884"/>
                <a:gd name="connsiteX3" fmla="*/ 4089728 w 4089728"/>
                <a:gd name="connsiteY3" fmla="*/ 0 h 889884"/>
                <a:gd name="connsiteX0" fmla="*/ 4079425 w 4079425"/>
                <a:gd name="connsiteY0" fmla="*/ 0 h 889884"/>
                <a:gd name="connsiteX1" fmla="*/ 3350069 w 4079425"/>
                <a:gd name="connsiteY1" fmla="*/ 889884 h 889884"/>
                <a:gd name="connsiteX2" fmla="*/ 0 w 4079425"/>
                <a:gd name="connsiteY2" fmla="*/ 882403 h 889884"/>
                <a:gd name="connsiteX3" fmla="*/ 4079425 w 4079425"/>
                <a:gd name="connsiteY3" fmla="*/ 0 h 889884"/>
                <a:gd name="connsiteX0" fmla="*/ 4082000 w 4082000"/>
                <a:gd name="connsiteY0" fmla="*/ 0 h 889884"/>
                <a:gd name="connsiteX1" fmla="*/ 3352644 w 4082000"/>
                <a:gd name="connsiteY1" fmla="*/ 889884 h 889884"/>
                <a:gd name="connsiteX2" fmla="*/ 0 w 4082000"/>
                <a:gd name="connsiteY2" fmla="*/ 882403 h 889884"/>
                <a:gd name="connsiteX3" fmla="*/ 4082000 w 4082000"/>
                <a:gd name="connsiteY3" fmla="*/ 0 h 889884"/>
                <a:gd name="connsiteX0" fmla="*/ 4087152 w 4087152"/>
                <a:gd name="connsiteY0" fmla="*/ 0 h 1007091"/>
                <a:gd name="connsiteX1" fmla="*/ 3357796 w 4087152"/>
                <a:gd name="connsiteY1" fmla="*/ 889884 h 1007091"/>
                <a:gd name="connsiteX2" fmla="*/ 0 w 4087152"/>
                <a:gd name="connsiteY2" fmla="*/ 1007091 h 1007091"/>
                <a:gd name="connsiteX3" fmla="*/ 4087152 w 4087152"/>
                <a:gd name="connsiteY3" fmla="*/ 0 h 1007091"/>
                <a:gd name="connsiteX0" fmla="*/ 4092304 w 4092304"/>
                <a:gd name="connsiteY0" fmla="*/ 0 h 894872"/>
                <a:gd name="connsiteX1" fmla="*/ 3362948 w 4092304"/>
                <a:gd name="connsiteY1" fmla="*/ 889884 h 894872"/>
                <a:gd name="connsiteX2" fmla="*/ 0 w 4092304"/>
                <a:gd name="connsiteY2" fmla="*/ 894872 h 894872"/>
                <a:gd name="connsiteX3" fmla="*/ 4092304 w 4092304"/>
                <a:gd name="connsiteY3" fmla="*/ 0 h 894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92304" h="894872">
                  <a:moveTo>
                    <a:pt x="4092304" y="0"/>
                  </a:moveTo>
                  <a:lnTo>
                    <a:pt x="3362948" y="889884"/>
                  </a:lnTo>
                  <a:lnTo>
                    <a:pt x="0" y="894872"/>
                  </a:lnTo>
                  <a:lnTo>
                    <a:pt x="409230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4102443" y="4914459"/>
              <a:ext cx="547228" cy="151811"/>
            </a:xfrm>
            <a:custGeom>
              <a:avLst/>
              <a:gdLst>
                <a:gd name="connsiteX0" fmla="*/ 0 w 547228"/>
                <a:gd name="connsiteY0" fmla="*/ 0 h 151811"/>
                <a:gd name="connsiteX1" fmla="*/ 547228 w 547228"/>
                <a:gd name="connsiteY1" fmla="*/ 70610 h 151811"/>
                <a:gd name="connsiteX2" fmla="*/ 526045 w 547228"/>
                <a:gd name="connsiteY2" fmla="*/ 151811 h 15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7228" h="151811">
                  <a:moveTo>
                    <a:pt x="0" y="0"/>
                  </a:moveTo>
                  <a:lnTo>
                    <a:pt x="547228" y="70610"/>
                  </a:lnTo>
                  <a:lnTo>
                    <a:pt x="526045" y="151811"/>
                  </a:lnTo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3317876" y="5936217"/>
              <a:ext cx="5416584" cy="930949"/>
            </a:xfrm>
            <a:custGeom>
              <a:avLst/>
              <a:gdLst>
                <a:gd name="connsiteX0" fmla="*/ 683287 w 5365819"/>
                <a:gd name="connsiteY0" fmla="*/ 0 h 914400"/>
                <a:gd name="connsiteX1" fmla="*/ 5365819 w 5365819"/>
                <a:gd name="connsiteY1" fmla="*/ 904351 h 914400"/>
                <a:gd name="connsiteX2" fmla="*/ 0 w 5365819"/>
                <a:gd name="connsiteY2" fmla="*/ 914400 h 914400"/>
                <a:gd name="connsiteX3" fmla="*/ 683287 w 5365819"/>
                <a:gd name="connsiteY3" fmla="*/ 0 h 914400"/>
                <a:gd name="connsiteX0" fmla="*/ 711531 w 5394063"/>
                <a:gd name="connsiteY0" fmla="*/ 0 h 917930"/>
                <a:gd name="connsiteX1" fmla="*/ 5394063 w 5394063"/>
                <a:gd name="connsiteY1" fmla="*/ 904351 h 917930"/>
                <a:gd name="connsiteX2" fmla="*/ 0 w 5394063"/>
                <a:gd name="connsiteY2" fmla="*/ 917930 h 917930"/>
                <a:gd name="connsiteX3" fmla="*/ 711531 w 5394063"/>
                <a:gd name="connsiteY3" fmla="*/ 0 h 917930"/>
                <a:gd name="connsiteX0" fmla="*/ 725653 w 5394063"/>
                <a:gd name="connsiteY0" fmla="*/ 0 h 910869"/>
                <a:gd name="connsiteX1" fmla="*/ 5394063 w 5394063"/>
                <a:gd name="connsiteY1" fmla="*/ 897290 h 910869"/>
                <a:gd name="connsiteX2" fmla="*/ 0 w 5394063"/>
                <a:gd name="connsiteY2" fmla="*/ 910869 h 910869"/>
                <a:gd name="connsiteX3" fmla="*/ 725653 w 5394063"/>
                <a:gd name="connsiteY3" fmla="*/ 0 h 910869"/>
                <a:gd name="connsiteX0" fmla="*/ 725653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5653 w 5376410"/>
                <a:gd name="connsiteY3" fmla="*/ 0 h 910869"/>
                <a:gd name="connsiteX0" fmla="*/ 783842 w 5376410"/>
                <a:gd name="connsiteY0" fmla="*/ 0 h 765396"/>
                <a:gd name="connsiteX1" fmla="*/ 5376410 w 5376410"/>
                <a:gd name="connsiteY1" fmla="*/ 762408 h 765396"/>
                <a:gd name="connsiteX2" fmla="*/ 0 w 5376410"/>
                <a:gd name="connsiteY2" fmla="*/ 765396 h 765396"/>
                <a:gd name="connsiteX3" fmla="*/ 783842 w 5376410"/>
                <a:gd name="connsiteY3" fmla="*/ 0 h 765396"/>
                <a:gd name="connsiteX0" fmla="*/ 729810 w 5376410"/>
                <a:gd name="connsiteY0" fmla="*/ 0 h 910869"/>
                <a:gd name="connsiteX1" fmla="*/ 5376410 w 5376410"/>
                <a:gd name="connsiteY1" fmla="*/ 907881 h 910869"/>
                <a:gd name="connsiteX2" fmla="*/ 0 w 5376410"/>
                <a:gd name="connsiteY2" fmla="*/ 910869 h 910869"/>
                <a:gd name="connsiteX3" fmla="*/ 729810 w 5376410"/>
                <a:gd name="connsiteY3" fmla="*/ 0 h 910869"/>
                <a:gd name="connsiteX0" fmla="*/ 71457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4570 w 5376410"/>
                <a:gd name="connsiteY3" fmla="*/ 0 h 918489"/>
                <a:gd name="connsiteX0" fmla="*/ 809820 w 5376410"/>
                <a:gd name="connsiteY0" fmla="*/ 0 h 758469"/>
                <a:gd name="connsiteX1" fmla="*/ 5376410 w 5376410"/>
                <a:gd name="connsiteY1" fmla="*/ 755481 h 758469"/>
                <a:gd name="connsiteX2" fmla="*/ 0 w 5376410"/>
                <a:gd name="connsiteY2" fmla="*/ 758469 h 758469"/>
                <a:gd name="connsiteX3" fmla="*/ 809820 w 5376410"/>
                <a:gd name="connsiteY3" fmla="*/ 0 h 758469"/>
                <a:gd name="connsiteX0" fmla="*/ 710760 w 5376410"/>
                <a:gd name="connsiteY0" fmla="*/ 0 h 918489"/>
                <a:gd name="connsiteX1" fmla="*/ 5376410 w 5376410"/>
                <a:gd name="connsiteY1" fmla="*/ 915501 h 918489"/>
                <a:gd name="connsiteX2" fmla="*/ 0 w 5376410"/>
                <a:gd name="connsiteY2" fmla="*/ 918489 h 918489"/>
                <a:gd name="connsiteX3" fmla="*/ 710760 w 5376410"/>
                <a:gd name="connsiteY3" fmla="*/ 0 h 918489"/>
                <a:gd name="connsiteX0" fmla="*/ 722190 w 5376410"/>
                <a:gd name="connsiteY0" fmla="*/ 0 h 914679"/>
                <a:gd name="connsiteX1" fmla="*/ 5376410 w 5376410"/>
                <a:gd name="connsiteY1" fmla="*/ 911691 h 914679"/>
                <a:gd name="connsiteX2" fmla="*/ 0 w 5376410"/>
                <a:gd name="connsiteY2" fmla="*/ 914679 h 914679"/>
                <a:gd name="connsiteX3" fmla="*/ 722190 w 5376410"/>
                <a:gd name="connsiteY3" fmla="*/ 0 h 914679"/>
                <a:gd name="connsiteX0" fmla="*/ 735069 w 5389289"/>
                <a:gd name="connsiteY0" fmla="*/ 0 h 912104"/>
                <a:gd name="connsiteX1" fmla="*/ 5389289 w 5389289"/>
                <a:gd name="connsiteY1" fmla="*/ 911691 h 912104"/>
                <a:gd name="connsiteX2" fmla="*/ 0 w 5389289"/>
                <a:gd name="connsiteY2" fmla="*/ 912104 h 912104"/>
                <a:gd name="connsiteX3" fmla="*/ 735069 w 5389289"/>
                <a:gd name="connsiteY3" fmla="*/ 0 h 912104"/>
                <a:gd name="connsiteX0" fmla="*/ 735069 w 5389289"/>
                <a:gd name="connsiteY0" fmla="*/ 0 h 925339"/>
                <a:gd name="connsiteX1" fmla="*/ 5389289 w 5389289"/>
                <a:gd name="connsiteY1" fmla="*/ 925339 h 925339"/>
                <a:gd name="connsiteX2" fmla="*/ 0 w 5389289"/>
                <a:gd name="connsiteY2" fmla="*/ 912104 h 925339"/>
                <a:gd name="connsiteX3" fmla="*/ 735069 w 5389289"/>
                <a:gd name="connsiteY3" fmla="*/ 0 h 925339"/>
                <a:gd name="connsiteX0" fmla="*/ 762364 w 5416584"/>
                <a:gd name="connsiteY0" fmla="*/ 0 h 939400"/>
                <a:gd name="connsiteX1" fmla="*/ 5416584 w 5416584"/>
                <a:gd name="connsiteY1" fmla="*/ 925339 h 939400"/>
                <a:gd name="connsiteX2" fmla="*/ 0 w 5416584"/>
                <a:gd name="connsiteY2" fmla="*/ 939400 h 939400"/>
                <a:gd name="connsiteX3" fmla="*/ 762364 w 5416584"/>
                <a:gd name="connsiteY3" fmla="*/ 0 h 939400"/>
                <a:gd name="connsiteX0" fmla="*/ 762364 w 5416584"/>
                <a:gd name="connsiteY0" fmla="*/ 0 h 945010"/>
                <a:gd name="connsiteX1" fmla="*/ 5416584 w 5416584"/>
                <a:gd name="connsiteY1" fmla="*/ 930949 h 945010"/>
                <a:gd name="connsiteX2" fmla="*/ 0 w 5416584"/>
                <a:gd name="connsiteY2" fmla="*/ 945010 h 945010"/>
                <a:gd name="connsiteX3" fmla="*/ 762364 w 5416584"/>
                <a:gd name="connsiteY3" fmla="*/ 0 h 945010"/>
                <a:gd name="connsiteX0" fmla="*/ 762364 w 5416584"/>
                <a:gd name="connsiteY0" fmla="*/ 0 h 930949"/>
                <a:gd name="connsiteX1" fmla="*/ 5416584 w 5416584"/>
                <a:gd name="connsiteY1" fmla="*/ 930949 h 930949"/>
                <a:gd name="connsiteX2" fmla="*/ 0 w 5416584"/>
                <a:gd name="connsiteY2" fmla="*/ 921156 h 930949"/>
                <a:gd name="connsiteX3" fmla="*/ 762364 w 5416584"/>
                <a:gd name="connsiteY3" fmla="*/ 0 h 9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16584" h="930949">
                  <a:moveTo>
                    <a:pt x="762364" y="0"/>
                  </a:moveTo>
                  <a:lnTo>
                    <a:pt x="5416584" y="930949"/>
                  </a:lnTo>
                  <a:lnTo>
                    <a:pt x="0" y="921156"/>
                  </a:lnTo>
                  <a:lnTo>
                    <a:pt x="762364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10990536" y="3785435"/>
              <a:ext cx="1209457" cy="3091509"/>
            </a:xfrm>
            <a:custGeom>
              <a:avLst/>
              <a:gdLst>
                <a:gd name="connsiteX0" fmla="*/ 0 w 1182718"/>
                <a:gd name="connsiteY0" fmla="*/ 0 h 3032701"/>
                <a:gd name="connsiteX1" fmla="*/ 497800 w 1182718"/>
                <a:gd name="connsiteY1" fmla="*/ 3032701 h 3032701"/>
                <a:gd name="connsiteX2" fmla="*/ 1182718 w 1182718"/>
                <a:gd name="connsiteY2" fmla="*/ 515453 h 3032701"/>
                <a:gd name="connsiteX3" fmla="*/ 0 w 1182718"/>
                <a:gd name="connsiteY3" fmla="*/ 0 h 3032701"/>
                <a:gd name="connsiteX0" fmla="*/ 0 w 1179187"/>
                <a:gd name="connsiteY0" fmla="*/ 0 h 3029170"/>
                <a:gd name="connsiteX1" fmla="*/ 494269 w 1179187"/>
                <a:gd name="connsiteY1" fmla="*/ 3029170 h 3029170"/>
                <a:gd name="connsiteX2" fmla="*/ 1179187 w 1179187"/>
                <a:gd name="connsiteY2" fmla="*/ 511922 h 3029170"/>
                <a:gd name="connsiteX3" fmla="*/ 0 w 1179187"/>
                <a:gd name="connsiteY3" fmla="*/ 0 h 3029170"/>
                <a:gd name="connsiteX0" fmla="*/ 0 w 1179187"/>
                <a:gd name="connsiteY0" fmla="*/ 0 h 3039761"/>
                <a:gd name="connsiteX1" fmla="*/ 483677 w 1179187"/>
                <a:gd name="connsiteY1" fmla="*/ 3039761 h 3039761"/>
                <a:gd name="connsiteX2" fmla="*/ 1179187 w 1179187"/>
                <a:gd name="connsiteY2" fmla="*/ 511922 h 3039761"/>
                <a:gd name="connsiteX3" fmla="*/ 0 w 1179187"/>
                <a:gd name="connsiteY3" fmla="*/ 0 h 3039761"/>
                <a:gd name="connsiteX0" fmla="*/ 0 w 1190407"/>
                <a:gd name="connsiteY0" fmla="*/ 0 h 3039761"/>
                <a:gd name="connsiteX1" fmla="*/ 494897 w 1190407"/>
                <a:gd name="connsiteY1" fmla="*/ 3039761 h 3039761"/>
                <a:gd name="connsiteX2" fmla="*/ 1190407 w 1190407"/>
                <a:gd name="connsiteY2" fmla="*/ 511922 h 3039761"/>
                <a:gd name="connsiteX3" fmla="*/ 0 w 1190407"/>
                <a:gd name="connsiteY3" fmla="*/ 0 h 3039761"/>
                <a:gd name="connsiteX0" fmla="*/ 0 w 1203107"/>
                <a:gd name="connsiteY0" fmla="*/ 0 h 3065161"/>
                <a:gd name="connsiteX1" fmla="*/ 507597 w 1203107"/>
                <a:gd name="connsiteY1" fmla="*/ 3065161 h 3065161"/>
                <a:gd name="connsiteX2" fmla="*/ 1203107 w 1203107"/>
                <a:gd name="connsiteY2" fmla="*/ 537322 h 3065161"/>
                <a:gd name="connsiteX3" fmla="*/ 0 w 1203107"/>
                <a:gd name="connsiteY3" fmla="*/ 0 h 3065161"/>
                <a:gd name="connsiteX0" fmla="*/ 0 w 1209457"/>
                <a:gd name="connsiteY0" fmla="*/ 0 h 3065161"/>
                <a:gd name="connsiteX1" fmla="*/ 507597 w 1209457"/>
                <a:gd name="connsiteY1" fmla="*/ 3065161 h 3065161"/>
                <a:gd name="connsiteX2" fmla="*/ 1209457 w 1209457"/>
                <a:gd name="connsiteY2" fmla="*/ 543672 h 3065161"/>
                <a:gd name="connsiteX3" fmla="*/ 0 w 1209457"/>
                <a:gd name="connsiteY3" fmla="*/ 0 h 3065161"/>
                <a:gd name="connsiteX0" fmla="*/ 0 w 1215807"/>
                <a:gd name="connsiteY0" fmla="*/ 0 h 3065161"/>
                <a:gd name="connsiteX1" fmla="*/ 507597 w 1215807"/>
                <a:gd name="connsiteY1" fmla="*/ 3065161 h 3065161"/>
                <a:gd name="connsiteX2" fmla="*/ 1215807 w 1215807"/>
                <a:gd name="connsiteY2" fmla="*/ 537322 h 3065161"/>
                <a:gd name="connsiteX3" fmla="*/ 0 w 1215807"/>
                <a:gd name="connsiteY3" fmla="*/ 0 h 3065161"/>
                <a:gd name="connsiteX0" fmla="*/ 0 w 1209457"/>
                <a:gd name="connsiteY0" fmla="*/ 0 h 3077861"/>
                <a:gd name="connsiteX1" fmla="*/ 501247 w 1209457"/>
                <a:gd name="connsiteY1" fmla="*/ 3077861 h 3077861"/>
                <a:gd name="connsiteX2" fmla="*/ 1209457 w 1209457"/>
                <a:gd name="connsiteY2" fmla="*/ 550022 h 3077861"/>
                <a:gd name="connsiteX3" fmla="*/ 0 w 1209457"/>
                <a:gd name="connsiteY3" fmla="*/ 0 h 3077861"/>
                <a:gd name="connsiteX0" fmla="*/ 0 w 1209457"/>
                <a:gd name="connsiteY0" fmla="*/ 0 h 3091509"/>
                <a:gd name="connsiteX1" fmla="*/ 501247 w 1209457"/>
                <a:gd name="connsiteY1" fmla="*/ 3091509 h 3091509"/>
                <a:gd name="connsiteX2" fmla="*/ 1209457 w 1209457"/>
                <a:gd name="connsiteY2" fmla="*/ 550022 h 3091509"/>
                <a:gd name="connsiteX3" fmla="*/ 0 w 1209457"/>
                <a:gd name="connsiteY3" fmla="*/ 0 h 3091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457" h="3091509">
                  <a:moveTo>
                    <a:pt x="0" y="0"/>
                  </a:moveTo>
                  <a:lnTo>
                    <a:pt x="501247" y="3091509"/>
                  </a:lnTo>
                  <a:lnTo>
                    <a:pt x="1209457" y="550022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3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11488254" y="4321334"/>
              <a:ext cx="708319" cy="2552078"/>
            </a:xfrm>
            <a:custGeom>
              <a:avLst/>
              <a:gdLst>
                <a:gd name="connsiteX0" fmla="*/ 691978 w 697728"/>
                <a:gd name="connsiteY0" fmla="*/ 0 h 2520778"/>
                <a:gd name="connsiteX1" fmla="*/ 0 w 697728"/>
                <a:gd name="connsiteY1" fmla="*/ 2520778 h 2520778"/>
                <a:gd name="connsiteX2" fmla="*/ 695509 w 697728"/>
                <a:gd name="connsiteY2" fmla="*/ 2517248 h 2520778"/>
                <a:gd name="connsiteX3" fmla="*/ 691978 w 697728"/>
                <a:gd name="connsiteY3" fmla="*/ 0 h 2520778"/>
                <a:gd name="connsiteX0" fmla="*/ 691978 w 697728"/>
                <a:gd name="connsiteY0" fmla="*/ 0 h 2531370"/>
                <a:gd name="connsiteX1" fmla="*/ 0 w 697728"/>
                <a:gd name="connsiteY1" fmla="*/ 2531370 h 2531370"/>
                <a:gd name="connsiteX2" fmla="*/ 695509 w 697728"/>
                <a:gd name="connsiteY2" fmla="*/ 2517248 h 2531370"/>
                <a:gd name="connsiteX3" fmla="*/ 691978 w 697728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1978 w 703175"/>
                <a:gd name="connsiteY0" fmla="*/ 0 h 2531370"/>
                <a:gd name="connsiteX1" fmla="*/ 0 w 703175"/>
                <a:gd name="connsiteY1" fmla="*/ 2531370 h 2531370"/>
                <a:gd name="connsiteX2" fmla="*/ 702570 w 703175"/>
                <a:gd name="connsiteY2" fmla="*/ 2527839 h 2531370"/>
                <a:gd name="connsiteX3" fmla="*/ 691978 w 703175"/>
                <a:gd name="connsiteY3" fmla="*/ 0 h 2531370"/>
                <a:gd name="connsiteX0" fmla="*/ 699039 w 704789"/>
                <a:gd name="connsiteY0" fmla="*/ 0 h 2541962"/>
                <a:gd name="connsiteX1" fmla="*/ 0 w 704789"/>
                <a:gd name="connsiteY1" fmla="*/ 2541962 h 2541962"/>
                <a:gd name="connsiteX2" fmla="*/ 702570 w 704789"/>
                <a:gd name="connsiteY2" fmla="*/ 2538431 h 2541962"/>
                <a:gd name="connsiteX3" fmla="*/ 699039 w 704789"/>
                <a:gd name="connsiteY3" fmla="*/ 0 h 2541962"/>
                <a:gd name="connsiteX0" fmla="*/ 702569 w 708319"/>
                <a:gd name="connsiteY0" fmla="*/ 0 h 2538431"/>
                <a:gd name="connsiteX1" fmla="*/ 0 w 708319"/>
                <a:gd name="connsiteY1" fmla="*/ 2538431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667264 w 673014"/>
                <a:gd name="connsiteY0" fmla="*/ 0 h 2538431"/>
                <a:gd name="connsiteX1" fmla="*/ 0 w 673014"/>
                <a:gd name="connsiteY1" fmla="*/ 2252460 h 2538431"/>
                <a:gd name="connsiteX2" fmla="*/ 670795 w 673014"/>
                <a:gd name="connsiteY2" fmla="*/ 2538431 h 2538431"/>
                <a:gd name="connsiteX3" fmla="*/ 667264 w 673014"/>
                <a:gd name="connsiteY3" fmla="*/ 0 h 2538431"/>
                <a:gd name="connsiteX0" fmla="*/ 702569 w 708319"/>
                <a:gd name="connsiteY0" fmla="*/ 0 h 2541961"/>
                <a:gd name="connsiteX1" fmla="*/ 0 w 708319"/>
                <a:gd name="connsiteY1" fmla="*/ 2541961 h 2541961"/>
                <a:gd name="connsiteX2" fmla="*/ 706100 w 708319"/>
                <a:gd name="connsiteY2" fmla="*/ 2538431 h 2541961"/>
                <a:gd name="connsiteX3" fmla="*/ 702569 w 708319"/>
                <a:gd name="connsiteY3" fmla="*/ 0 h 2541961"/>
                <a:gd name="connsiteX0" fmla="*/ 702569 w 708319"/>
                <a:gd name="connsiteY0" fmla="*/ 0 h 2538431"/>
                <a:gd name="connsiteX1" fmla="*/ 0 w 708319"/>
                <a:gd name="connsiteY1" fmla="*/ 2534900 h 2538431"/>
                <a:gd name="connsiteX2" fmla="*/ 706100 w 708319"/>
                <a:gd name="connsiteY2" fmla="*/ 2538431 h 2538431"/>
                <a:gd name="connsiteX3" fmla="*/ 702569 w 708319"/>
                <a:gd name="connsiteY3" fmla="*/ 0 h 2538431"/>
                <a:gd name="connsiteX0" fmla="*/ 702569 w 708319"/>
                <a:gd name="connsiteY0" fmla="*/ 0 h 2548548"/>
                <a:gd name="connsiteX1" fmla="*/ 0 w 708319"/>
                <a:gd name="connsiteY1" fmla="*/ 2548548 h 2548548"/>
                <a:gd name="connsiteX2" fmla="*/ 706100 w 708319"/>
                <a:gd name="connsiteY2" fmla="*/ 2538431 h 2548548"/>
                <a:gd name="connsiteX3" fmla="*/ 702569 w 708319"/>
                <a:gd name="connsiteY3" fmla="*/ 0 h 2548548"/>
                <a:gd name="connsiteX0" fmla="*/ 702569 w 704906"/>
                <a:gd name="connsiteY0" fmla="*/ 0 h 2548548"/>
                <a:gd name="connsiteX1" fmla="*/ 0 w 704906"/>
                <a:gd name="connsiteY1" fmla="*/ 2548548 h 2548548"/>
                <a:gd name="connsiteX2" fmla="*/ 692452 w 704906"/>
                <a:gd name="connsiteY2" fmla="*/ 2538431 h 2548548"/>
                <a:gd name="connsiteX3" fmla="*/ 702569 w 704906"/>
                <a:gd name="connsiteY3" fmla="*/ 0 h 2548548"/>
                <a:gd name="connsiteX0" fmla="*/ 702569 w 708319"/>
                <a:gd name="connsiteY0" fmla="*/ 0 h 2565726"/>
                <a:gd name="connsiteX1" fmla="*/ 0 w 708319"/>
                <a:gd name="connsiteY1" fmla="*/ 2548548 h 2565726"/>
                <a:gd name="connsiteX2" fmla="*/ 706100 w 708319"/>
                <a:gd name="connsiteY2" fmla="*/ 2565726 h 2565726"/>
                <a:gd name="connsiteX3" fmla="*/ 702569 w 708319"/>
                <a:gd name="connsiteY3" fmla="*/ 0 h 2565726"/>
                <a:gd name="connsiteX0" fmla="*/ 702569 w 708319"/>
                <a:gd name="connsiteY0" fmla="*/ 0 h 2552078"/>
                <a:gd name="connsiteX1" fmla="*/ 0 w 708319"/>
                <a:gd name="connsiteY1" fmla="*/ 2548548 h 2552078"/>
                <a:gd name="connsiteX2" fmla="*/ 706100 w 708319"/>
                <a:gd name="connsiteY2" fmla="*/ 2552078 h 2552078"/>
                <a:gd name="connsiteX3" fmla="*/ 702569 w 708319"/>
                <a:gd name="connsiteY3" fmla="*/ 0 h 2552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8319" h="2552078">
                  <a:moveTo>
                    <a:pt x="702569" y="0"/>
                  </a:moveTo>
                  <a:lnTo>
                    <a:pt x="0" y="2548548"/>
                  </a:lnTo>
                  <a:lnTo>
                    <a:pt x="706100" y="2552078"/>
                  </a:lnTo>
                  <a:cubicBezTo>
                    <a:pt x="708454" y="1710642"/>
                    <a:pt x="710807" y="834375"/>
                    <a:pt x="702569" y="0"/>
                  </a:cubicBez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9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8745794" y="2426110"/>
              <a:ext cx="2263877" cy="4424516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63877" h="4424516">
                  <a:moveTo>
                    <a:pt x="958645" y="0"/>
                  </a:moveTo>
                  <a:lnTo>
                    <a:pt x="2263877" y="1393722"/>
                  </a:lnTo>
                  <a:lnTo>
                    <a:pt x="0" y="4424516"/>
                  </a:lnTo>
                  <a:lnTo>
                    <a:pt x="95864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-1" y="-1"/>
              <a:ext cx="3153403" cy="1773715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53403" h="1773715">
                  <a:moveTo>
                    <a:pt x="0" y="0"/>
                  </a:moveTo>
                  <a:lnTo>
                    <a:pt x="1036790" y="1773715"/>
                  </a:lnTo>
                  <a:lnTo>
                    <a:pt x="3153403" y="177113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-9845" y="-7221"/>
              <a:ext cx="3120462" cy="1793286"/>
            </a:xfrm>
            <a:custGeom>
              <a:avLst/>
              <a:gdLst>
                <a:gd name="connsiteX0" fmla="*/ 0 w 3172858"/>
                <a:gd name="connsiteY0" fmla="*/ 0 h 1773716"/>
                <a:gd name="connsiteX1" fmla="*/ 1079653 w 3172858"/>
                <a:gd name="connsiteY1" fmla="*/ 1773716 h 1773716"/>
                <a:gd name="connsiteX2" fmla="*/ 3172858 w 3172858"/>
                <a:gd name="connsiteY2" fmla="*/ 1751682 h 1773716"/>
                <a:gd name="connsiteX3" fmla="*/ 0 w 3172858"/>
                <a:gd name="connsiteY3" fmla="*/ 0 h 1773716"/>
                <a:gd name="connsiteX0" fmla="*/ 0 w 3114492"/>
                <a:gd name="connsiteY0" fmla="*/ 0 h 1773716"/>
                <a:gd name="connsiteX1" fmla="*/ 1079653 w 3114492"/>
                <a:gd name="connsiteY1" fmla="*/ 1773716 h 1773716"/>
                <a:gd name="connsiteX2" fmla="*/ 3114492 w 3114492"/>
                <a:gd name="connsiteY2" fmla="*/ 1177750 h 1773716"/>
                <a:gd name="connsiteX3" fmla="*/ 0 w 3114492"/>
                <a:gd name="connsiteY3" fmla="*/ 0 h 1773716"/>
                <a:gd name="connsiteX0" fmla="*/ 0 w 3153403"/>
                <a:gd name="connsiteY0" fmla="*/ 0 h 1773716"/>
                <a:gd name="connsiteX1" fmla="*/ 1079653 w 3153403"/>
                <a:gd name="connsiteY1" fmla="*/ 1773716 h 1773716"/>
                <a:gd name="connsiteX2" fmla="*/ 3153403 w 3153403"/>
                <a:gd name="connsiteY2" fmla="*/ 1771137 h 1773716"/>
                <a:gd name="connsiteX3" fmla="*/ 0 w 3153403"/>
                <a:gd name="connsiteY3" fmla="*/ 0 h 1773716"/>
                <a:gd name="connsiteX0" fmla="*/ 0 w 3153403"/>
                <a:gd name="connsiteY0" fmla="*/ 0 h 1771137"/>
                <a:gd name="connsiteX1" fmla="*/ 1036790 w 3153403"/>
                <a:gd name="connsiteY1" fmla="*/ 1768953 h 1771137"/>
                <a:gd name="connsiteX2" fmla="*/ 3153403 w 3153403"/>
                <a:gd name="connsiteY2" fmla="*/ 1771137 h 1771137"/>
                <a:gd name="connsiteX3" fmla="*/ 0 w 3153403"/>
                <a:gd name="connsiteY3" fmla="*/ 0 h 1771137"/>
                <a:gd name="connsiteX0" fmla="*/ 0 w 3153403"/>
                <a:gd name="connsiteY0" fmla="*/ 0 h 1773715"/>
                <a:gd name="connsiteX1" fmla="*/ 1036790 w 3153403"/>
                <a:gd name="connsiteY1" fmla="*/ 1773715 h 1773715"/>
                <a:gd name="connsiteX2" fmla="*/ 3153403 w 3153403"/>
                <a:gd name="connsiteY2" fmla="*/ 1771137 h 1773715"/>
                <a:gd name="connsiteX3" fmla="*/ 0 w 3153403"/>
                <a:gd name="connsiteY3" fmla="*/ 0 h 1773715"/>
                <a:gd name="connsiteX0" fmla="*/ 0 w 3081965"/>
                <a:gd name="connsiteY0" fmla="*/ 0 h 1775900"/>
                <a:gd name="connsiteX1" fmla="*/ 1036790 w 3081965"/>
                <a:gd name="connsiteY1" fmla="*/ 1773715 h 1775900"/>
                <a:gd name="connsiteX2" fmla="*/ 3081965 w 3081965"/>
                <a:gd name="connsiteY2" fmla="*/ 1775900 h 1775900"/>
                <a:gd name="connsiteX3" fmla="*/ 0 w 3081965"/>
                <a:gd name="connsiteY3" fmla="*/ 0 h 1775900"/>
                <a:gd name="connsiteX0" fmla="*/ 0 w 3086728"/>
                <a:gd name="connsiteY0" fmla="*/ 0 h 1775900"/>
                <a:gd name="connsiteX1" fmla="*/ 1036790 w 3086728"/>
                <a:gd name="connsiteY1" fmla="*/ 1773715 h 1775900"/>
                <a:gd name="connsiteX2" fmla="*/ 3086728 w 3086728"/>
                <a:gd name="connsiteY2" fmla="*/ 1775900 h 1775900"/>
                <a:gd name="connsiteX3" fmla="*/ 0 w 3086728"/>
                <a:gd name="connsiteY3" fmla="*/ 0 h 1775900"/>
                <a:gd name="connsiteX0" fmla="*/ 0 w 3091491"/>
                <a:gd name="connsiteY0" fmla="*/ 0 h 1799713"/>
                <a:gd name="connsiteX1" fmla="*/ 1036790 w 3091491"/>
                <a:gd name="connsiteY1" fmla="*/ 1773715 h 1799713"/>
                <a:gd name="connsiteX2" fmla="*/ 3091491 w 3091491"/>
                <a:gd name="connsiteY2" fmla="*/ 1799713 h 1799713"/>
                <a:gd name="connsiteX3" fmla="*/ 0 w 3091491"/>
                <a:gd name="connsiteY3" fmla="*/ 0 h 1799713"/>
                <a:gd name="connsiteX0" fmla="*/ 0 w 3120066"/>
                <a:gd name="connsiteY0" fmla="*/ 0 h 1799713"/>
                <a:gd name="connsiteX1" fmla="*/ 103679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20066"/>
                <a:gd name="connsiteY0" fmla="*/ 0 h 1799713"/>
                <a:gd name="connsiteX1" fmla="*/ 1019730 w 3120066"/>
                <a:gd name="connsiteY1" fmla="*/ 1773715 h 1799713"/>
                <a:gd name="connsiteX2" fmla="*/ 3120066 w 3120066"/>
                <a:gd name="connsiteY2" fmla="*/ 1799713 h 1799713"/>
                <a:gd name="connsiteX3" fmla="*/ 0 w 3120066"/>
                <a:gd name="connsiteY3" fmla="*/ 0 h 1799713"/>
                <a:gd name="connsiteX0" fmla="*/ 0 w 3133714"/>
                <a:gd name="connsiteY0" fmla="*/ 0 h 1799713"/>
                <a:gd name="connsiteX1" fmla="*/ 1033378 w 3133714"/>
                <a:gd name="connsiteY1" fmla="*/ 1773715 h 1799713"/>
                <a:gd name="connsiteX2" fmla="*/ 3133714 w 3133714"/>
                <a:gd name="connsiteY2" fmla="*/ 1799713 h 1799713"/>
                <a:gd name="connsiteX3" fmla="*/ 0 w 3133714"/>
                <a:gd name="connsiteY3" fmla="*/ 0 h 1799713"/>
                <a:gd name="connsiteX0" fmla="*/ 0 w 3140538"/>
                <a:gd name="connsiteY0" fmla="*/ 0 h 1799713"/>
                <a:gd name="connsiteX1" fmla="*/ 1040202 w 3140538"/>
                <a:gd name="connsiteY1" fmla="*/ 1773715 h 1799713"/>
                <a:gd name="connsiteX2" fmla="*/ 3140538 w 3140538"/>
                <a:gd name="connsiteY2" fmla="*/ 1799713 h 1799713"/>
                <a:gd name="connsiteX3" fmla="*/ 0 w 3140538"/>
                <a:gd name="connsiteY3" fmla="*/ 0 h 1799713"/>
                <a:gd name="connsiteX0" fmla="*/ 0 w 3126890"/>
                <a:gd name="connsiteY0" fmla="*/ 0 h 1786065"/>
                <a:gd name="connsiteX1" fmla="*/ 1040202 w 3126890"/>
                <a:gd name="connsiteY1" fmla="*/ 1773715 h 1786065"/>
                <a:gd name="connsiteX2" fmla="*/ 3126890 w 3126890"/>
                <a:gd name="connsiteY2" fmla="*/ 1786065 h 1786065"/>
                <a:gd name="connsiteX3" fmla="*/ 0 w 3126890"/>
                <a:gd name="connsiteY3" fmla="*/ 0 h 1786065"/>
                <a:gd name="connsiteX0" fmla="*/ 0 w 3113242"/>
                <a:gd name="connsiteY0" fmla="*/ 0 h 1782653"/>
                <a:gd name="connsiteX1" fmla="*/ 1026554 w 3113242"/>
                <a:gd name="connsiteY1" fmla="*/ 1770303 h 1782653"/>
                <a:gd name="connsiteX2" fmla="*/ 3113242 w 3113242"/>
                <a:gd name="connsiteY2" fmla="*/ 1782653 h 1782653"/>
                <a:gd name="connsiteX3" fmla="*/ 0 w 3113242"/>
                <a:gd name="connsiteY3" fmla="*/ 0 h 1782653"/>
                <a:gd name="connsiteX0" fmla="*/ 0 w 3123478"/>
                <a:gd name="connsiteY0" fmla="*/ 0 h 1782653"/>
                <a:gd name="connsiteX1" fmla="*/ 1036790 w 3123478"/>
                <a:gd name="connsiteY1" fmla="*/ 1770303 h 1782653"/>
                <a:gd name="connsiteX2" fmla="*/ 3123478 w 3123478"/>
                <a:gd name="connsiteY2" fmla="*/ 1782653 h 1782653"/>
                <a:gd name="connsiteX3" fmla="*/ 0 w 3123478"/>
                <a:gd name="connsiteY3" fmla="*/ 0 h 1782653"/>
                <a:gd name="connsiteX0" fmla="*/ 0 w 3109830"/>
                <a:gd name="connsiteY0" fmla="*/ 0 h 1782653"/>
                <a:gd name="connsiteX1" fmla="*/ 1036790 w 3109830"/>
                <a:gd name="connsiteY1" fmla="*/ 1770303 h 1782653"/>
                <a:gd name="connsiteX2" fmla="*/ 3109830 w 3109830"/>
                <a:gd name="connsiteY2" fmla="*/ 1782653 h 1782653"/>
                <a:gd name="connsiteX3" fmla="*/ 0 w 3109830"/>
                <a:gd name="connsiteY3" fmla="*/ 0 h 1782653"/>
                <a:gd name="connsiteX0" fmla="*/ 0 w 3120462"/>
                <a:gd name="connsiteY0" fmla="*/ 0 h 1793286"/>
                <a:gd name="connsiteX1" fmla="*/ 1047422 w 3120462"/>
                <a:gd name="connsiteY1" fmla="*/ 1780936 h 1793286"/>
                <a:gd name="connsiteX2" fmla="*/ 3120462 w 3120462"/>
                <a:gd name="connsiteY2" fmla="*/ 1793286 h 1793286"/>
                <a:gd name="connsiteX3" fmla="*/ 0 w 3120462"/>
                <a:gd name="connsiteY3" fmla="*/ 0 h 179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20462" h="1793286">
                  <a:moveTo>
                    <a:pt x="0" y="0"/>
                  </a:moveTo>
                  <a:lnTo>
                    <a:pt x="1047422" y="1780936"/>
                  </a:lnTo>
                  <a:lnTo>
                    <a:pt x="3120462" y="179328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62000">
                  <a:schemeClr val="accent3"/>
                </a:gs>
                <a:gs pos="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-3295" y="1769807"/>
              <a:ext cx="1407341" cy="5098422"/>
            </a:xfrm>
            <a:custGeom>
              <a:avLst/>
              <a:gdLst>
                <a:gd name="connsiteX0" fmla="*/ 1026488 w 1398147"/>
                <a:gd name="connsiteY0" fmla="*/ 0 h 5073445"/>
                <a:gd name="connsiteX1" fmla="*/ 1398147 w 1398147"/>
                <a:gd name="connsiteY1" fmla="*/ 1875995 h 5073445"/>
                <a:gd name="connsiteX2" fmla="*/ 0 w 1398147"/>
                <a:gd name="connsiteY2" fmla="*/ 5073445 h 5073445"/>
                <a:gd name="connsiteX3" fmla="*/ 1026488 w 1398147"/>
                <a:gd name="connsiteY3" fmla="*/ 0 h 5073445"/>
                <a:gd name="connsiteX0" fmla="*/ 1032388 w 1398147"/>
                <a:gd name="connsiteY0" fmla="*/ 0 h 5055747"/>
                <a:gd name="connsiteX1" fmla="*/ 1398147 w 1398147"/>
                <a:gd name="connsiteY1" fmla="*/ 1858297 h 5055747"/>
                <a:gd name="connsiteX2" fmla="*/ 0 w 1398147"/>
                <a:gd name="connsiteY2" fmla="*/ 5055747 h 5055747"/>
                <a:gd name="connsiteX3" fmla="*/ 1032388 w 1398147"/>
                <a:gd name="connsiteY3" fmla="*/ 0 h 5055747"/>
                <a:gd name="connsiteX0" fmla="*/ 1032388 w 1398147"/>
                <a:gd name="connsiteY0" fmla="*/ 0 h 5061646"/>
                <a:gd name="connsiteX1" fmla="*/ 1398147 w 1398147"/>
                <a:gd name="connsiteY1" fmla="*/ 1864196 h 5061646"/>
                <a:gd name="connsiteX2" fmla="*/ 0 w 1398147"/>
                <a:gd name="connsiteY2" fmla="*/ 5061646 h 5061646"/>
                <a:gd name="connsiteX3" fmla="*/ 1032388 w 1398147"/>
                <a:gd name="connsiteY3" fmla="*/ 0 h 5061646"/>
                <a:gd name="connsiteX0" fmla="*/ 1032388 w 1398147"/>
                <a:gd name="connsiteY0" fmla="*/ 0 h 5079344"/>
                <a:gd name="connsiteX1" fmla="*/ 1398147 w 1398147"/>
                <a:gd name="connsiteY1" fmla="*/ 1881894 h 5079344"/>
                <a:gd name="connsiteX2" fmla="*/ 0 w 1398147"/>
                <a:gd name="connsiteY2" fmla="*/ 5079344 h 5079344"/>
                <a:gd name="connsiteX3" fmla="*/ 1032388 w 1398147"/>
                <a:gd name="connsiteY3" fmla="*/ 0 h 5079344"/>
                <a:gd name="connsiteX0" fmla="*/ 1032388 w 1398147"/>
                <a:gd name="connsiteY0" fmla="*/ 0 h 5089936"/>
                <a:gd name="connsiteX1" fmla="*/ 1398147 w 1398147"/>
                <a:gd name="connsiteY1" fmla="*/ 1881894 h 5089936"/>
                <a:gd name="connsiteX2" fmla="*/ 0 w 1398147"/>
                <a:gd name="connsiteY2" fmla="*/ 5089936 h 5089936"/>
                <a:gd name="connsiteX3" fmla="*/ 1032388 w 1398147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81894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1039450 w 1405209"/>
                <a:gd name="connsiteY3" fmla="*/ 0 h 5089936"/>
                <a:gd name="connsiteX0" fmla="*/ 1039450 w 1405209"/>
                <a:gd name="connsiteY0" fmla="*/ 0 h 5089936"/>
                <a:gd name="connsiteX1" fmla="*/ 1405209 w 1405209"/>
                <a:gd name="connsiteY1" fmla="*/ 1891419 h 5089936"/>
                <a:gd name="connsiteX2" fmla="*/ 0 w 1405209"/>
                <a:gd name="connsiteY2" fmla="*/ 5089936 h 5089936"/>
                <a:gd name="connsiteX3" fmla="*/ 8890 w 1405209"/>
                <a:gd name="connsiteY3" fmla="*/ 5081754 h 5089936"/>
                <a:gd name="connsiteX4" fmla="*/ 1039450 w 1405209"/>
                <a:gd name="connsiteY4" fmla="*/ 0 h 5089936"/>
                <a:gd name="connsiteX0" fmla="*/ 1041582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41582 w 1407341"/>
                <a:gd name="connsiteY4" fmla="*/ 0 h 5098422"/>
                <a:gd name="connsiteX0" fmla="*/ 1034758 w 1407341"/>
                <a:gd name="connsiteY0" fmla="*/ 0 h 5098422"/>
                <a:gd name="connsiteX1" fmla="*/ 1407341 w 1407341"/>
                <a:gd name="connsiteY1" fmla="*/ 1891419 h 5098422"/>
                <a:gd name="connsiteX2" fmla="*/ 2132 w 1407341"/>
                <a:gd name="connsiteY2" fmla="*/ 5089936 h 5098422"/>
                <a:gd name="connsiteX3" fmla="*/ 719 w 1407341"/>
                <a:gd name="connsiteY3" fmla="*/ 5097208 h 5098422"/>
                <a:gd name="connsiteX4" fmla="*/ 1034758 w 1407341"/>
                <a:gd name="connsiteY4" fmla="*/ 0 h 5098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7341" h="5098422">
                  <a:moveTo>
                    <a:pt x="1034758" y="0"/>
                  </a:moveTo>
                  <a:lnTo>
                    <a:pt x="1407341" y="1891419"/>
                  </a:lnTo>
                  <a:lnTo>
                    <a:pt x="2132" y="5089936"/>
                  </a:lnTo>
                  <a:cubicBezTo>
                    <a:pt x="5095" y="5083774"/>
                    <a:pt x="-2244" y="5103370"/>
                    <a:pt x="719" y="5097208"/>
                  </a:cubicBezTo>
                  <a:lnTo>
                    <a:pt x="1034758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18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694845" y="2426110"/>
              <a:ext cx="2293341" cy="4440419"/>
            </a:xfrm>
            <a:custGeom>
              <a:avLst/>
              <a:gdLst>
                <a:gd name="connsiteX0" fmla="*/ 958645 w 2263877"/>
                <a:gd name="connsiteY0" fmla="*/ 0 h 4424516"/>
                <a:gd name="connsiteX1" fmla="*/ 2263877 w 2263877"/>
                <a:gd name="connsiteY1" fmla="*/ 1393722 h 4424516"/>
                <a:gd name="connsiteX2" fmla="*/ 0 w 2263877"/>
                <a:gd name="connsiteY2" fmla="*/ 4424516 h 4424516"/>
                <a:gd name="connsiteX3" fmla="*/ 958645 w 2263877"/>
                <a:gd name="connsiteY3" fmla="*/ 0 h 4424516"/>
                <a:gd name="connsiteX0" fmla="*/ 958645 w 2269487"/>
                <a:gd name="connsiteY0" fmla="*/ 0 h 4424516"/>
                <a:gd name="connsiteX1" fmla="*/ 2269487 w 2269487"/>
                <a:gd name="connsiteY1" fmla="*/ 1388112 h 4424516"/>
                <a:gd name="connsiteX2" fmla="*/ 0 w 2269487"/>
                <a:gd name="connsiteY2" fmla="*/ 4424516 h 4424516"/>
                <a:gd name="connsiteX3" fmla="*/ 958645 w 2269487"/>
                <a:gd name="connsiteY3" fmla="*/ 0 h 4424516"/>
                <a:gd name="connsiteX0" fmla="*/ 982499 w 2293341"/>
                <a:gd name="connsiteY0" fmla="*/ 0 h 4440419"/>
                <a:gd name="connsiteX1" fmla="*/ 2293341 w 2293341"/>
                <a:gd name="connsiteY1" fmla="*/ 1388112 h 4440419"/>
                <a:gd name="connsiteX2" fmla="*/ 0 w 2293341"/>
                <a:gd name="connsiteY2" fmla="*/ 4440419 h 4440419"/>
                <a:gd name="connsiteX3" fmla="*/ 982499 w 2293341"/>
                <a:gd name="connsiteY3" fmla="*/ 0 h 4440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3341" h="4440419">
                  <a:moveTo>
                    <a:pt x="982499" y="0"/>
                  </a:moveTo>
                  <a:lnTo>
                    <a:pt x="2293341" y="1388112"/>
                  </a:lnTo>
                  <a:lnTo>
                    <a:pt x="0" y="4440419"/>
                  </a:lnTo>
                  <a:lnTo>
                    <a:pt x="982499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29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9669015" y="1066800"/>
              <a:ext cx="2530575" cy="2762250"/>
            </a:xfrm>
            <a:custGeom>
              <a:avLst/>
              <a:gdLst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309687 w 2481262"/>
                <a:gd name="connsiteY2" fmla="*/ 2762250 h 2762250"/>
                <a:gd name="connsiteX3" fmla="*/ 2481262 w 2481262"/>
                <a:gd name="connsiteY3" fmla="*/ 0 h 2762250"/>
                <a:gd name="connsiteX0" fmla="*/ 2481262 w 2481262"/>
                <a:gd name="connsiteY0" fmla="*/ 0 h 2762250"/>
                <a:gd name="connsiteX1" fmla="*/ 0 w 2481262"/>
                <a:gd name="connsiteY1" fmla="*/ 1371600 h 2762250"/>
                <a:gd name="connsiteX2" fmla="*/ 1292857 w 2481262"/>
                <a:gd name="connsiteY2" fmla="*/ 2762250 h 2762250"/>
                <a:gd name="connsiteX3" fmla="*/ 2481262 w 2481262"/>
                <a:gd name="connsiteY3" fmla="*/ 0 h 2762250"/>
                <a:gd name="connsiteX0" fmla="*/ 2509311 w 2509311"/>
                <a:gd name="connsiteY0" fmla="*/ 0 h 2762250"/>
                <a:gd name="connsiteX1" fmla="*/ 0 w 2509311"/>
                <a:gd name="connsiteY1" fmla="*/ 1354771 h 2762250"/>
                <a:gd name="connsiteX2" fmla="*/ 1320906 w 2509311"/>
                <a:gd name="connsiteY2" fmla="*/ 2762250 h 2762250"/>
                <a:gd name="connsiteX3" fmla="*/ 2509311 w 2509311"/>
                <a:gd name="connsiteY3" fmla="*/ 0 h 2762250"/>
                <a:gd name="connsiteX0" fmla="*/ 2519943 w 2519943"/>
                <a:gd name="connsiteY0" fmla="*/ 0 h 2762250"/>
                <a:gd name="connsiteX1" fmla="*/ 0 w 2519943"/>
                <a:gd name="connsiteY1" fmla="*/ 1354771 h 2762250"/>
                <a:gd name="connsiteX2" fmla="*/ 1320906 w 2519943"/>
                <a:gd name="connsiteY2" fmla="*/ 2762250 h 2762250"/>
                <a:gd name="connsiteX3" fmla="*/ 2519943 w 2519943"/>
                <a:gd name="connsiteY3" fmla="*/ 0 h 2762250"/>
                <a:gd name="connsiteX0" fmla="*/ 2530575 w 2530575"/>
                <a:gd name="connsiteY0" fmla="*/ 0 h 2762250"/>
                <a:gd name="connsiteX1" fmla="*/ 0 w 2530575"/>
                <a:gd name="connsiteY1" fmla="*/ 1354771 h 2762250"/>
                <a:gd name="connsiteX2" fmla="*/ 1320906 w 2530575"/>
                <a:gd name="connsiteY2" fmla="*/ 2762250 h 2762250"/>
                <a:gd name="connsiteX3" fmla="*/ 2530575 w 2530575"/>
                <a:gd name="connsiteY3" fmla="*/ 0 h 2762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30575" h="2762250">
                  <a:moveTo>
                    <a:pt x="2530575" y="0"/>
                  </a:moveTo>
                  <a:lnTo>
                    <a:pt x="0" y="1354771"/>
                  </a:lnTo>
                  <a:lnTo>
                    <a:pt x="1320906" y="2762250"/>
                  </a:lnTo>
                  <a:lnTo>
                    <a:pt x="2530575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4" name="Freeform 33"/>
            <p:cNvSpPr/>
            <p:nvPr/>
          </p:nvSpPr>
          <p:spPr>
            <a:xfrm>
              <a:off x="3317358" y="-5316"/>
              <a:ext cx="4354033" cy="1222744"/>
            </a:xfrm>
            <a:custGeom>
              <a:avLst/>
              <a:gdLst>
                <a:gd name="connsiteX0" fmla="*/ 0 w 4354033"/>
                <a:gd name="connsiteY0" fmla="*/ 0 h 1217428"/>
                <a:gd name="connsiteX1" fmla="*/ 3067493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54033"/>
                <a:gd name="connsiteY0" fmla="*/ 0 h 1217428"/>
                <a:gd name="connsiteX1" fmla="*/ 3088758 w 4354033"/>
                <a:gd name="connsiteY1" fmla="*/ 10632 h 1217428"/>
                <a:gd name="connsiteX2" fmla="*/ 4354033 w 4354033"/>
                <a:gd name="connsiteY2" fmla="*/ 1217428 h 1217428"/>
                <a:gd name="connsiteX3" fmla="*/ 0 w 4354033"/>
                <a:gd name="connsiteY3" fmla="*/ 0 h 1217428"/>
                <a:gd name="connsiteX0" fmla="*/ 0 w 4375298"/>
                <a:gd name="connsiteY0" fmla="*/ 0 h 1217428"/>
                <a:gd name="connsiteX1" fmla="*/ 3088758 w 4375298"/>
                <a:gd name="connsiteY1" fmla="*/ 10632 h 1217428"/>
                <a:gd name="connsiteX2" fmla="*/ 4375298 w 4375298"/>
                <a:gd name="connsiteY2" fmla="*/ 1217428 h 1217428"/>
                <a:gd name="connsiteX3" fmla="*/ 0 w 4375298"/>
                <a:gd name="connsiteY3" fmla="*/ 0 h 1217428"/>
                <a:gd name="connsiteX0" fmla="*/ 0 w 4364666"/>
                <a:gd name="connsiteY0" fmla="*/ 0 h 1217428"/>
                <a:gd name="connsiteX1" fmla="*/ 3088758 w 4364666"/>
                <a:gd name="connsiteY1" fmla="*/ 10632 h 1217428"/>
                <a:gd name="connsiteX2" fmla="*/ 4364666 w 4364666"/>
                <a:gd name="connsiteY2" fmla="*/ 1217428 h 1217428"/>
                <a:gd name="connsiteX3" fmla="*/ 0 w 4364666"/>
                <a:gd name="connsiteY3" fmla="*/ 0 h 1217428"/>
                <a:gd name="connsiteX0" fmla="*/ 0 w 4354033"/>
                <a:gd name="connsiteY0" fmla="*/ 0 h 1222744"/>
                <a:gd name="connsiteX1" fmla="*/ 3088758 w 4354033"/>
                <a:gd name="connsiteY1" fmla="*/ 10632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  <a:gd name="connsiteX0" fmla="*/ 0 w 4354033"/>
                <a:gd name="connsiteY0" fmla="*/ 5317 h 1228061"/>
                <a:gd name="connsiteX1" fmla="*/ 3083442 w 4354033"/>
                <a:gd name="connsiteY1" fmla="*/ 0 h 1228061"/>
                <a:gd name="connsiteX2" fmla="*/ 4354033 w 4354033"/>
                <a:gd name="connsiteY2" fmla="*/ 1228061 h 1228061"/>
                <a:gd name="connsiteX3" fmla="*/ 0 w 4354033"/>
                <a:gd name="connsiteY3" fmla="*/ 5317 h 1228061"/>
                <a:gd name="connsiteX0" fmla="*/ 0 w 4354033"/>
                <a:gd name="connsiteY0" fmla="*/ 0 h 1222744"/>
                <a:gd name="connsiteX1" fmla="*/ 3094074 w 4354033"/>
                <a:gd name="connsiteY1" fmla="*/ 5315 h 1222744"/>
                <a:gd name="connsiteX2" fmla="*/ 4354033 w 4354033"/>
                <a:gd name="connsiteY2" fmla="*/ 1222744 h 1222744"/>
                <a:gd name="connsiteX3" fmla="*/ 0 w 4354033"/>
                <a:gd name="connsiteY3" fmla="*/ 0 h 122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54033" h="1222744">
                  <a:moveTo>
                    <a:pt x="0" y="0"/>
                  </a:moveTo>
                  <a:lnTo>
                    <a:pt x="3094074" y="5315"/>
                  </a:lnTo>
                  <a:lnTo>
                    <a:pt x="4354033" y="1222744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8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Freeform 34"/>
            <p:cNvSpPr/>
            <p:nvPr/>
          </p:nvSpPr>
          <p:spPr>
            <a:xfrm>
              <a:off x="8690614" y="3782459"/>
              <a:ext cx="2818349" cy="3087424"/>
            </a:xfrm>
            <a:custGeom>
              <a:avLst/>
              <a:gdLst>
                <a:gd name="connsiteX0" fmla="*/ 2270113 w 2753791"/>
                <a:gd name="connsiteY0" fmla="*/ 0 h 3029171"/>
                <a:gd name="connsiteX1" fmla="*/ 0 w 2753791"/>
                <a:gd name="connsiteY1" fmla="*/ 3025640 h 3029171"/>
                <a:gd name="connsiteX2" fmla="*/ 2753791 w 2753791"/>
                <a:gd name="connsiteY2" fmla="*/ 3029171 h 3029171"/>
                <a:gd name="connsiteX3" fmla="*/ 2270113 w 2753791"/>
                <a:gd name="connsiteY3" fmla="*/ 0 h 3029171"/>
                <a:gd name="connsiteX0" fmla="*/ 2247810 w 2753791"/>
                <a:gd name="connsiteY0" fmla="*/ 0 h 3073776"/>
                <a:gd name="connsiteX1" fmla="*/ 0 w 2753791"/>
                <a:gd name="connsiteY1" fmla="*/ 3070245 h 3073776"/>
                <a:gd name="connsiteX2" fmla="*/ 2753791 w 2753791"/>
                <a:gd name="connsiteY2" fmla="*/ 3073776 h 3073776"/>
                <a:gd name="connsiteX3" fmla="*/ 2247810 w 2753791"/>
                <a:gd name="connsiteY3" fmla="*/ 0 h 3073776"/>
                <a:gd name="connsiteX0" fmla="*/ 2311420 w 2817401"/>
                <a:gd name="connsiteY0" fmla="*/ 0 h 3073776"/>
                <a:gd name="connsiteX1" fmla="*/ 0 w 2817401"/>
                <a:gd name="connsiteY1" fmla="*/ 3062294 h 3073776"/>
                <a:gd name="connsiteX2" fmla="*/ 2817401 w 2817401"/>
                <a:gd name="connsiteY2" fmla="*/ 3073776 h 3073776"/>
                <a:gd name="connsiteX3" fmla="*/ 2311420 w 2817401"/>
                <a:gd name="connsiteY3" fmla="*/ 0 h 3073776"/>
                <a:gd name="connsiteX0" fmla="*/ 2311420 w 2817401"/>
                <a:gd name="connsiteY0" fmla="*/ 0 h 3089589"/>
                <a:gd name="connsiteX1" fmla="*/ 0 w 2817401"/>
                <a:gd name="connsiteY1" fmla="*/ 3089589 h 3089589"/>
                <a:gd name="connsiteX2" fmla="*/ 2817401 w 2817401"/>
                <a:gd name="connsiteY2" fmla="*/ 3073776 h 3089589"/>
                <a:gd name="connsiteX3" fmla="*/ 2311420 w 2817401"/>
                <a:gd name="connsiteY3" fmla="*/ 0 h 3089589"/>
                <a:gd name="connsiteX0" fmla="*/ 2306657 w 2812638"/>
                <a:gd name="connsiteY0" fmla="*/ 0 h 3089589"/>
                <a:gd name="connsiteX1" fmla="*/ 0 w 2812638"/>
                <a:gd name="connsiteY1" fmla="*/ 3089589 h 3089589"/>
                <a:gd name="connsiteX2" fmla="*/ 2812638 w 2812638"/>
                <a:gd name="connsiteY2" fmla="*/ 3073776 h 3089589"/>
                <a:gd name="connsiteX3" fmla="*/ 2306657 w 2812638"/>
                <a:gd name="connsiteY3" fmla="*/ 0 h 3089589"/>
                <a:gd name="connsiteX0" fmla="*/ 2306657 w 2812638"/>
                <a:gd name="connsiteY0" fmla="*/ 0 h 3084826"/>
                <a:gd name="connsiteX1" fmla="*/ 0 w 2812638"/>
                <a:gd name="connsiteY1" fmla="*/ 3084826 h 3084826"/>
                <a:gd name="connsiteX2" fmla="*/ 2812638 w 2812638"/>
                <a:gd name="connsiteY2" fmla="*/ 3073776 h 3084826"/>
                <a:gd name="connsiteX3" fmla="*/ 2306657 w 2812638"/>
                <a:gd name="connsiteY3" fmla="*/ 0 h 3084826"/>
                <a:gd name="connsiteX0" fmla="*/ 2292370 w 2798351"/>
                <a:gd name="connsiteY0" fmla="*/ 0 h 3084826"/>
                <a:gd name="connsiteX1" fmla="*/ 0 w 2798351"/>
                <a:gd name="connsiteY1" fmla="*/ 3084826 h 3084826"/>
                <a:gd name="connsiteX2" fmla="*/ 2798351 w 2798351"/>
                <a:gd name="connsiteY2" fmla="*/ 3073776 h 3084826"/>
                <a:gd name="connsiteX3" fmla="*/ 2292370 w 279835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2987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298720 w 2804701"/>
                <a:gd name="connsiteY3" fmla="*/ 0 h 3084826"/>
                <a:gd name="connsiteX0" fmla="*/ 2311420 w 2804701"/>
                <a:gd name="connsiteY0" fmla="*/ 0 h 3084826"/>
                <a:gd name="connsiteX1" fmla="*/ 0 w 2804701"/>
                <a:gd name="connsiteY1" fmla="*/ 3084826 h 3084826"/>
                <a:gd name="connsiteX2" fmla="*/ 2804701 w 2804701"/>
                <a:gd name="connsiteY2" fmla="*/ 3073776 h 3084826"/>
                <a:gd name="connsiteX3" fmla="*/ 2311420 w 2804701"/>
                <a:gd name="connsiteY3" fmla="*/ 0 h 3084826"/>
                <a:gd name="connsiteX0" fmla="*/ 2311420 w 2804701"/>
                <a:gd name="connsiteY0" fmla="*/ 0 h 3087424"/>
                <a:gd name="connsiteX1" fmla="*/ 0 w 2804701"/>
                <a:gd name="connsiteY1" fmla="*/ 3084826 h 3087424"/>
                <a:gd name="connsiteX2" fmla="*/ 2804701 w 2804701"/>
                <a:gd name="connsiteY2" fmla="*/ 3087424 h 3087424"/>
                <a:gd name="connsiteX3" fmla="*/ 2311420 w 2804701"/>
                <a:gd name="connsiteY3" fmla="*/ 0 h 3087424"/>
                <a:gd name="connsiteX0" fmla="*/ 2311420 w 2818349"/>
                <a:gd name="connsiteY0" fmla="*/ 0 h 3087424"/>
                <a:gd name="connsiteX1" fmla="*/ 0 w 2818349"/>
                <a:gd name="connsiteY1" fmla="*/ 3084826 h 3087424"/>
                <a:gd name="connsiteX2" fmla="*/ 2818349 w 2818349"/>
                <a:gd name="connsiteY2" fmla="*/ 3087424 h 3087424"/>
                <a:gd name="connsiteX3" fmla="*/ 2311420 w 2818349"/>
                <a:gd name="connsiteY3" fmla="*/ 0 h 3087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18349" h="3087424">
                  <a:moveTo>
                    <a:pt x="2311420" y="0"/>
                  </a:moveTo>
                  <a:lnTo>
                    <a:pt x="0" y="3084826"/>
                  </a:lnTo>
                  <a:lnTo>
                    <a:pt x="2818349" y="3087424"/>
                  </a:lnTo>
                  <a:lnTo>
                    <a:pt x="2311420" y="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32000">
                  <a:schemeClr val="accent2"/>
                </a:gs>
              </a:gsLst>
              <a:lin ang="18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6" name="Freeform 35"/>
            <p:cNvSpPr/>
            <p:nvPr/>
          </p:nvSpPr>
          <p:spPr>
            <a:xfrm>
              <a:off x="7660347" y="1094096"/>
              <a:ext cx="4531653" cy="1344304"/>
            </a:xfrm>
            <a:custGeom>
              <a:avLst/>
              <a:gdLst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43113 w 4533900"/>
                <a:gd name="connsiteY2" fmla="*/ 1371600 h 1371600"/>
                <a:gd name="connsiteX3" fmla="*/ 0 w 4533900"/>
                <a:gd name="connsiteY3" fmla="*/ 142875 h 1371600"/>
                <a:gd name="connsiteX0" fmla="*/ 0 w 4533900"/>
                <a:gd name="connsiteY0" fmla="*/ 142875 h 1371600"/>
                <a:gd name="connsiteX1" fmla="*/ 4533900 w 4533900"/>
                <a:gd name="connsiteY1" fmla="*/ 0 h 1371600"/>
                <a:gd name="connsiteX2" fmla="*/ 2021848 w 4533900"/>
                <a:gd name="connsiteY2" fmla="*/ 1371600 h 1371600"/>
                <a:gd name="connsiteX3" fmla="*/ 0 w 4533900"/>
                <a:gd name="connsiteY3" fmla="*/ 142875 h 1371600"/>
                <a:gd name="connsiteX0" fmla="*/ 0 w 4544532"/>
                <a:gd name="connsiteY0" fmla="*/ 153508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53508 h 1371600"/>
                <a:gd name="connsiteX0" fmla="*/ 0 w 4544532"/>
                <a:gd name="connsiteY0" fmla="*/ 142875 h 1371600"/>
                <a:gd name="connsiteX1" fmla="*/ 4544532 w 4544532"/>
                <a:gd name="connsiteY1" fmla="*/ 0 h 1371600"/>
                <a:gd name="connsiteX2" fmla="*/ 2032480 w 4544532"/>
                <a:gd name="connsiteY2" fmla="*/ 1371600 h 1371600"/>
                <a:gd name="connsiteX3" fmla="*/ 0 w 4544532"/>
                <a:gd name="connsiteY3" fmla="*/ 142875 h 1371600"/>
                <a:gd name="connsiteX0" fmla="*/ 0 w 4536805"/>
                <a:gd name="connsiteY0" fmla="*/ 148026 h 1371600"/>
                <a:gd name="connsiteX1" fmla="*/ 4536805 w 4536805"/>
                <a:gd name="connsiteY1" fmla="*/ 0 h 1371600"/>
                <a:gd name="connsiteX2" fmla="*/ 2024753 w 4536805"/>
                <a:gd name="connsiteY2" fmla="*/ 1371600 h 1371600"/>
                <a:gd name="connsiteX3" fmla="*/ 0 w 4536805"/>
                <a:gd name="connsiteY3" fmla="*/ 148026 h 1371600"/>
                <a:gd name="connsiteX0" fmla="*/ 0 w 4531653"/>
                <a:gd name="connsiteY0" fmla="*/ 142874 h 1371600"/>
                <a:gd name="connsiteX1" fmla="*/ 4531653 w 4531653"/>
                <a:gd name="connsiteY1" fmla="*/ 0 h 1371600"/>
                <a:gd name="connsiteX2" fmla="*/ 2019601 w 4531653"/>
                <a:gd name="connsiteY2" fmla="*/ 1371600 h 1371600"/>
                <a:gd name="connsiteX3" fmla="*/ 0 w 4531653"/>
                <a:gd name="connsiteY3" fmla="*/ 142874 h 1371600"/>
                <a:gd name="connsiteX0" fmla="*/ 0 w 3944799"/>
                <a:gd name="connsiteY0" fmla="*/ 33692 h 1262418"/>
                <a:gd name="connsiteX1" fmla="*/ 3944799 w 3944799"/>
                <a:gd name="connsiteY1" fmla="*/ 0 h 1262418"/>
                <a:gd name="connsiteX2" fmla="*/ 2019601 w 3944799"/>
                <a:gd name="connsiteY2" fmla="*/ 1262418 h 1262418"/>
                <a:gd name="connsiteX3" fmla="*/ 0 w 3944799"/>
                <a:gd name="connsiteY3" fmla="*/ 33692 h 1262418"/>
                <a:gd name="connsiteX0" fmla="*/ 0 w 4531653"/>
                <a:gd name="connsiteY0" fmla="*/ 115578 h 1344304"/>
                <a:gd name="connsiteX1" fmla="*/ 4531653 w 4531653"/>
                <a:gd name="connsiteY1" fmla="*/ 0 h 1344304"/>
                <a:gd name="connsiteX2" fmla="*/ 2019601 w 4531653"/>
                <a:gd name="connsiteY2" fmla="*/ 1344304 h 1344304"/>
                <a:gd name="connsiteX3" fmla="*/ 0 w 4531653"/>
                <a:gd name="connsiteY3" fmla="*/ 115578 h 1344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31653" h="1344304">
                  <a:moveTo>
                    <a:pt x="0" y="115578"/>
                  </a:moveTo>
                  <a:lnTo>
                    <a:pt x="4531653" y="0"/>
                  </a:lnTo>
                  <a:lnTo>
                    <a:pt x="2019601" y="1344304"/>
                  </a:lnTo>
                  <a:lnTo>
                    <a:pt x="0" y="115578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4067336" y="4700371"/>
              <a:ext cx="4645354" cy="2166557"/>
            </a:xfrm>
            <a:custGeom>
              <a:avLst/>
              <a:gdLst>
                <a:gd name="connsiteX0" fmla="*/ 0 w 4632158"/>
                <a:gd name="connsiteY0" fmla="*/ 1239253 h 2129590"/>
                <a:gd name="connsiteX1" fmla="*/ 3645569 w 4632158"/>
                <a:gd name="connsiteY1" fmla="*/ 0 h 2129590"/>
                <a:gd name="connsiteX2" fmla="*/ 4632158 w 4632158"/>
                <a:gd name="connsiteY2" fmla="*/ 2129590 h 2129590"/>
                <a:gd name="connsiteX3" fmla="*/ 0 w 4632158"/>
                <a:gd name="connsiteY3" fmla="*/ 1239253 h 2129590"/>
                <a:gd name="connsiteX0" fmla="*/ 0 w 4632158"/>
                <a:gd name="connsiteY0" fmla="*/ 1243228 h 2133565"/>
                <a:gd name="connsiteX1" fmla="*/ 3641593 w 4632158"/>
                <a:gd name="connsiteY1" fmla="*/ 0 h 2133565"/>
                <a:gd name="connsiteX2" fmla="*/ 4632158 w 4632158"/>
                <a:gd name="connsiteY2" fmla="*/ 2133565 h 2133565"/>
                <a:gd name="connsiteX3" fmla="*/ 0 w 4632158"/>
                <a:gd name="connsiteY3" fmla="*/ 1243228 h 2133565"/>
                <a:gd name="connsiteX0" fmla="*/ 0 w 4656011"/>
                <a:gd name="connsiteY0" fmla="*/ 1243228 h 2157419"/>
                <a:gd name="connsiteX1" fmla="*/ 3641593 w 4656011"/>
                <a:gd name="connsiteY1" fmla="*/ 0 h 2157419"/>
                <a:gd name="connsiteX2" fmla="*/ 4656011 w 4656011"/>
                <a:gd name="connsiteY2" fmla="*/ 2157419 h 2157419"/>
                <a:gd name="connsiteX3" fmla="*/ 0 w 4656011"/>
                <a:gd name="connsiteY3" fmla="*/ 1243228 h 2157419"/>
                <a:gd name="connsiteX0" fmla="*/ 0 w 4659987"/>
                <a:gd name="connsiteY0" fmla="*/ 1247204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47204 h 2157419"/>
                <a:gd name="connsiteX0" fmla="*/ 0 w 4667938"/>
                <a:gd name="connsiteY0" fmla="*/ 1263107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63107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67938"/>
                <a:gd name="connsiteY0" fmla="*/ 1259132 h 2157419"/>
                <a:gd name="connsiteX1" fmla="*/ 3653520 w 4667938"/>
                <a:gd name="connsiteY1" fmla="*/ 0 h 2157419"/>
                <a:gd name="connsiteX2" fmla="*/ 4667938 w 4667938"/>
                <a:gd name="connsiteY2" fmla="*/ 2157419 h 2157419"/>
                <a:gd name="connsiteX3" fmla="*/ 0 w 4667938"/>
                <a:gd name="connsiteY3" fmla="*/ 1259132 h 2157419"/>
                <a:gd name="connsiteX0" fmla="*/ 0 w 4659987"/>
                <a:gd name="connsiteY0" fmla="*/ 1251181 h 2157419"/>
                <a:gd name="connsiteX1" fmla="*/ 3645569 w 4659987"/>
                <a:gd name="connsiteY1" fmla="*/ 0 h 2157419"/>
                <a:gd name="connsiteX2" fmla="*/ 4659987 w 4659987"/>
                <a:gd name="connsiteY2" fmla="*/ 2157419 h 2157419"/>
                <a:gd name="connsiteX3" fmla="*/ 0 w 4659987"/>
                <a:gd name="connsiteY3" fmla="*/ 1251181 h 2157419"/>
                <a:gd name="connsiteX0" fmla="*/ 0 w 4674275"/>
                <a:gd name="connsiteY0" fmla="*/ 1251181 h 2157419"/>
                <a:gd name="connsiteX1" fmla="*/ 3645569 w 4674275"/>
                <a:gd name="connsiteY1" fmla="*/ 0 h 2157419"/>
                <a:gd name="connsiteX2" fmla="*/ 4674275 w 4674275"/>
                <a:gd name="connsiteY2" fmla="*/ 2157419 h 2157419"/>
                <a:gd name="connsiteX3" fmla="*/ 0 w 4674275"/>
                <a:gd name="connsiteY3" fmla="*/ 1251181 h 2157419"/>
                <a:gd name="connsiteX0" fmla="*/ 0 w 4683800"/>
                <a:gd name="connsiteY0" fmla="*/ 1251181 h 2157419"/>
                <a:gd name="connsiteX1" fmla="*/ 3655094 w 4683800"/>
                <a:gd name="connsiteY1" fmla="*/ 0 h 2157419"/>
                <a:gd name="connsiteX2" fmla="*/ 4683800 w 4683800"/>
                <a:gd name="connsiteY2" fmla="*/ 2157419 h 2157419"/>
                <a:gd name="connsiteX3" fmla="*/ 0 w 4683800"/>
                <a:gd name="connsiteY3" fmla="*/ 1251181 h 2157419"/>
                <a:gd name="connsiteX0" fmla="*/ 0 w 4695230"/>
                <a:gd name="connsiteY0" fmla="*/ 1251181 h 2157419"/>
                <a:gd name="connsiteX1" fmla="*/ 3666524 w 4695230"/>
                <a:gd name="connsiteY1" fmla="*/ 0 h 2157419"/>
                <a:gd name="connsiteX2" fmla="*/ 4695230 w 4695230"/>
                <a:gd name="connsiteY2" fmla="*/ 2157419 h 2157419"/>
                <a:gd name="connsiteX3" fmla="*/ 0 w 4695230"/>
                <a:gd name="connsiteY3" fmla="*/ 1251181 h 2157419"/>
                <a:gd name="connsiteX0" fmla="*/ 0 w 4695230"/>
                <a:gd name="connsiteY0" fmla="*/ 1251181 h 2171067"/>
                <a:gd name="connsiteX1" fmla="*/ 3666524 w 4695230"/>
                <a:gd name="connsiteY1" fmla="*/ 0 h 2171067"/>
                <a:gd name="connsiteX2" fmla="*/ 4695230 w 4695230"/>
                <a:gd name="connsiteY2" fmla="*/ 2171067 h 2171067"/>
                <a:gd name="connsiteX3" fmla="*/ 0 w 4695230"/>
                <a:gd name="connsiteY3" fmla="*/ 1251181 h 2171067"/>
                <a:gd name="connsiteX0" fmla="*/ 0 w 4708878"/>
                <a:gd name="connsiteY0" fmla="*/ 1251181 h 2184715"/>
                <a:gd name="connsiteX1" fmla="*/ 3666524 w 4708878"/>
                <a:gd name="connsiteY1" fmla="*/ 0 h 2184715"/>
                <a:gd name="connsiteX2" fmla="*/ 4708878 w 4708878"/>
                <a:gd name="connsiteY2" fmla="*/ 2184715 h 2184715"/>
                <a:gd name="connsiteX3" fmla="*/ 0 w 4708878"/>
                <a:gd name="connsiteY3" fmla="*/ 1251181 h 2184715"/>
                <a:gd name="connsiteX0" fmla="*/ 0 w 4722526"/>
                <a:gd name="connsiteY0" fmla="*/ 1251181 h 2198363"/>
                <a:gd name="connsiteX1" fmla="*/ 3666524 w 4722526"/>
                <a:gd name="connsiteY1" fmla="*/ 0 h 2198363"/>
                <a:gd name="connsiteX2" fmla="*/ 4722526 w 4722526"/>
                <a:gd name="connsiteY2" fmla="*/ 2198363 h 2198363"/>
                <a:gd name="connsiteX3" fmla="*/ 0 w 4722526"/>
                <a:gd name="connsiteY3" fmla="*/ 1251181 h 2198363"/>
                <a:gd name="connsiteX0" fmla="*/ 0 w 4658916"/>
                <a:gd name="connsiteY0" fmla="*/ 1251181 h 2190411"/>
                <a:gd name="connsiteX1" fmla="*/ 3666524 w 4658916"/>
                <a:gd name="connsiteY1" fmla="*/ 0 h 2190411"/>
                <a:gd name="connsiteX2" fmla="*/ 4658916 w 4658916"/>
                <a:gd name="connsiteY2" fmla="*/ 2190411 h 2190411"/>
                <a:gd name="connsiteX3" fmla="*/ 0 w 4658916"/>
                <a:gd name="connsiteY3" fmla="*/ 1251181 h 2190411"/>
                <a:gd name="connsiteX0" fmla="*/ 0 w 4658916"/>
                <a:gd name="connsiteY0" fmla="*/ 1251181 h 2166557"/>
                <a:gd name="connsiteX1" fmla="*/ 3666524 w 4658916"/>
                <a:gd name="connsiteY1" fmla="*/ 0 h 2166557"/>
                <a:gd name="connsiteX2" fmla="*/ 4658916 w 4658916"/>
                <a:gd name="connsiteY2" fmla="*/ 2166557 h 2166557"/>
                <a:gd name="connsiteX3" fmla="*/ 0 w 4658916"/>
                <a:gd name="connsiteY3" fmla="*/ 1251181 h 2166557"/>
                <a:gd name="connsiteX0" fmla="*/ 0 w 4670136"/>
                <a:gd name="connsiteY0" fmla="*/ 1251181 h 2166557"/>
                <a:gd name="connsiteX1" fmla="*/ 3677744 w 4670136"/>
                <a:gd name="connsiteY1" fmla="*/ 0 h 2166557"/>
                <a:gd name="connsiteX2" fmla="*/ 4670136 w 4670136"/>
                <a:gd name="connsiteY2" fmla="*/ 2166557 h 2166557"/>
                <a:gd name="connsiteX3" fmla="*/ 0 w 4670136"/>
                <a:gd name="connsiteY3" fmla="*/ 1251181 h 2166557"/>
                <a:gd name="connsiteX0" fmla="*/ 0 w 4653306"/>
                <a:gd name="connsiteY0" fmla="*/ 1251181 h 2166557"/>
                <a:gd name="connsiteX1" fmla="*/ 3660914 w 4653306"/>
                <a:gd name="connsiteY1" fmla="*/ 0 h 2166557"/>
                <a:gd name="connsiteX2" fmla="*/ 4653306 w 4653306"/>
                <a:gd name="connsiteY2" fmla="*/ 2166557 h 2166557"/>
                <a:gd name="connsiteX3" fmla="*/ 0 w 4653306"/>
                <a:gd name="connsiteY3" fmla="*/ 1251181 h 2166557"/>
                <a:gd name="connsiteX0" fmla="*/ 0 w 4001299"/>
                <a:gd name="connsiteY0" fmla="*/ 869518 h 2166557"/>
                <a:gd name="connsiteX1" fmla="*/ 3008907 w 4001299"/>
                <a:gd name="connsiteY1" fmla="*/ 0 h 2166557"/>
                <a:gd name="connsiteX2" fmla="*/ 4001299 w 4001299"/>
                <a:gd name="connsiteY2" fmla="*/ 2166557 h 2166557"/>
                <a:gd name="connsiteX3" fmla="*/ 0 w 4001299"/>
                <a:gd name="connsiteY3" fmla="*/ 869518 h 2166557"/>
                <a:gd name="connsiteX0" fmla="*/ 0 w 4645354"/>
                <a:gd name="connsiteY0" fmla="*/ 1251181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51181 h 2166557"/>
                <a:gd name="connsiteX0" fmla="*/ 0 w 4645354"/>
                <a:gd name="connsiteY0" fmla="*/ 1243230 h 2166557"/>
                <a:gd name="connsiteX1" fmla="*/ 3652962 w 4645354"/>
                <a:gd name="connsiteY1" fmla="*/ 0 h 2166557"/>
                <a:gd name="connsiteX2" fmla="*/ 4645354 w 4645354"/>
                <a:gd name="connsiteY2" fmla="*/ 2166557 h 2166557"/>
                <a:gd name="connsiteX3" fmla="*/ 0 w 4645354"/>
                <a:gd name="connsiteY3" fmla="*/ 1243230 h 2166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45354" h="2166557">
                  <a:moveTo>
                    <a:pt x="0" y="1243230"/>
                  </a:moveTo>
                  <a:lnTo>
                    <a:pt x="3652962" y="0"/>
                  </a:lnTo>
                  <a:lnTo>
                    <a:pt x="4645354" y="2166557"/>
                  </a:lnTo>
                  <a:lnTo>
                    <a:pt x="0" y="1243230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6000">
                  <a:schemeClr val="accent2"/>
                </a:gs>
              </a:gsLst>
              <a:lin ang="4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38" name="Freeform 37"/>
            <p:cNvSpPr/>
            <p:nvPr/>
          </p:nvSpPr>
          <p:spPr>
            <a:xfrm>
              <a:off x="3541852" y="3007895"/>
              <a:ext cx="2834884" cy="2947737"/>
            </a:xfrm>
            <a:custGeom>
              <a:avLst/>
              <a:gdLst>
                <a:gd name="connsiteX0" fmla="*/ 0 w 2791326"/>
                <a:gd name="connsiteY0" fmla="*/ 1816768 h 2947737"/>
                <a:gd name="connsiteX1" fmla="*/ 493294 w 2791326"/>
                <a:gd name="connsiteY1" fmla="*/ 2947737 h 2947737"/>
                <a:gd name="connsiteX2" fmla="*/ 2791326 w 2791326"/>
                <a:gd name="connsiteY2" fmla="*/ 0 h 2947737"/>
                <a:gd name="connsiteX3" fmla="*/ 0 w 2791326"/>
                <a:gd name="connsiteY3" fmla="*/ 1816768 h 2947737"/>
                <a:gd name="connsiteX0" fmla="*/ 0 w 2799638"/>
                <a:gd name="connsiteY0" fmla="*/ 1845863 h 2947737"/>
                <a:gd name="connsiteX1" fmla="*/ 501606 w 2799638"/>
                <a:gd name="connsiteY1" fmla="*/ 2947737 h 2947737"/>
                <a:gd name="connsiteX2" fmla="*/ 2799638 w 2799638"/>
                <a:gd name="connsiteY2" fmla="*/ 0 h 2947737"/>
                <a:gd name="connsiteX3" fmla="*/ 0 w 2799638"/>
                <a:gd name="connsiteY3" fmla="*/ 1845863 h 2947737"/>
                <a:gd name="connsiteX0" fmla="*/ 0 w 2826933"/>
                <a:gd name="connsiteY0" fmla="*/ 1886806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86806 h 2947737"/>
                <a:gd name="connsiteX0" fmla="*/ 0 w 2826933"/>
                <a:gd name="connsiteY0" fmla="*/ 1859510 h 2947737"/>
                <a:gd name="connsiteX1" fmla="*/ 52890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26933"/>
                <a:gd name="connsiteY0" fmla="*/ 1859510 h 2947737"/>
                <a:gd name="connsiteX1" fmla="*/ 523291 w 2826933"/>
                <a:gd name="connsiteY1" fmla="*/ 2947737 h 2947737"/>
                <a:gd name="connsiteX2" fmla="*/ 2826933 w 2826933"/>
                <a:gd name="connsiteY2" fmla="*/ 0 h 2947737"/>
                <a:gd name="connsiteX3" fmla="*/ 0 w 2826933"/>
                <a:gd name="connsiteY3" fmla="*/ 1859510 h 2947737"/>
                <a:gd name="connsiteX0" fmla="*/ 0 w 2834884"/>
                <a:gd name="connsiteY0" fmla="*/ 1867462 h 2947737"/>
                <a:gd name="connsiteX1" fmla="*/ 531242 w 2834884"/>
                <a:gd name="connsiteY1" fmla="*/ 2947737 h 2947737"/>
                <a:gd name="connsiteX2" fmla="*/ 2834884 w 2834884"/>
                <a:gd name="connsiteY2" fmla="*/ 0 h 2947737"/>
                <a:gd name="connsiteX3" fmla="*/ 0 w 2834884"/>
                <a:gd name="connsiteY3" fmla="*/ 1867462 h 294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4884" h="2947737">
                  <a:moveTo>
                    <a:pt x="0" y="1867462"/>
                  </a:moveTo>
                  <a:lnTo>
                    <a:pt x="531242" y="2947737"/>
                  </a:lnTo>
                  <a:lnTo>
                    <a:pt x="2834884" y="0"/>
                  </a:lnTo>
                  <a:lnTo>
                    <a:pt x="0" y="1867462"/>
                  </a:lnTo>
                  <a:close/>
                </a:path>
              </a:pathLst>
            </a:custGeom>
            <a:gradFill>
              <a:gsLst>
                <a:gs pos="100000">
                  <a:schemeClr val="accent3"/>
                </a:gs>
                <a:gs pos="44000">
                  <a:schemeClr val="accent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</p:grpSp>
      <p:sp>
        <p:nvSpPr>
          <p:cNvPr id="39" name="Text Placeholder 45">
            <a:extLst>
              <a:ext uri="{FF2B5EF4-FFF2-40B4-BE49-F238E27FC236}">
                <a16:creationId xmlns:a16="http://schemas.microsoft.com/office/drawing/2014/main" id="{8B252A1D-CC01-724F-82EB-AE41A3B6D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04" y="2743200"/>
            <a:ext cx="8291512" cy="101441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9853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_Me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68CD001-DB0A-434C-A4D9-C996D29C984E}"/>
              </a:ext>
            </a:extLst>
          </p:cNvPr>
          <p:cNvSpPr/>
          <p:nvPr userDrawn="1"/>
        </p:nvSpPr>
        <p:spPr>
          <a:xfrm>
            <a:off x="3532" y="33077"/>
            <a:ext cx="12185420" cy="68295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2" name="Freeform 5">
            <a:extLst>
              <a:ext uri="{FF2B5EF4-FFF2-40B4-BE49-F238E27FC236}">
                <a16:creationId xmlns:a16="http://schemas.microsoft.com/office/drawing/2014/main" id="{664B3331-1A95-491B-A362-BB7B41288F0C}"/>
              </a:ext>
            </a:extLst>
          </p:cNvPr>
          <p:cNvSpPr/>
          <p:nvPr userDrawn="1"/>
        </p:nvSpPr>
        <p:spPr>
          <a:xfrm>
            <a:off x="0" y="3602940"/>
            <a:ext cx="3586808" cy="3259673"/>
          </a:xfrm>
          <a:custGeom>
            <a:avLst/>
            <a:gdLst>
              <a:gd name="connsiteX0" fmla="*/ 1392248 w 3580909"/>
              <a:gd name="connsiteY0" fmla="*/ 0 h 3209249"/>
              <a:gd name="connsiteX1" fmla="*/ 0 w 3580909"/>
              <a:gd name="connsiteY1" fmla="*/ 3209249 h 3209249"/>
              <a:gd name="connsiteX2" fmla="*/ 3580909 w 3580909"/>
              <a:gd name="connsiteY2" fmla="*/ 1215267 h 3209249"/>
              <a:gd name="connsiteX3" fmla="*/ 1392248 w 3580909"/>
              <a:gd name="connsiteY3" fmla="*/ 0 h 3209249"/>
              <a:gd name="connsiteX0" fmla="*/ 1406371 w 3595032"/>
              <a:gd name="connsiteY0" fmla="*/ 0 h 3209249"/>
              <a:gd name="connsiteX1" fmla="*/ 0 w 3595032"/>
              <a:gd name="connsiteY1" fmla="*/ 3209249 h 3209249"/>
              <a:gd name="connsiteX2" fmla="*/ 3595032 w 3595032"/>
              <a:gd name="connsiteY2" fmla="*/ 1215267 h 3209249"/>
              <a:gd name="connsiteX3" fmla="*/ 1406371 w 3595032"/>
              <a:gd name="connsiteY3" fmla="*/ 0 h 3209249"/>
              <a:gd name="connsiteX0" fmla="*/ 1399310 w 3587971"/>
              <a:gd name="connsiteY0" fmla="*/ 0 h 3209249"/>
              <a:gd name="connsiteX1" fmla="*/ 0 w 3587971"/>
              <a:gd name="connsiteY1" fmla="*/ 3209249 h 3209249"/>
              <a:gd name="connsiteX2" fmla="*/ 3587971 w 3587971"/>
              <a:gd name="connsiteY2" fmla="*/ 1215267 h 3209249"/>
              <a:gd name="connsiteX3" fmla="*/ 1399310 w 3587971"/>
              <a:gd name="connsiteY3" fmla="*/ 0 h 3209249"/>
              <a:gd name="connsiteX0" fmla="*/ 1399310 w 3587971"/>
              <a:gd name="connsiteY0" fmla="*/ 0 h 3252111"/>
              <a:gd name="connsiteX1" fmla="*/ 0 w 3587971"/>
              <a:gd name="connsiteY1" fmla="*/ 3252111 h 3252111"/>
              <a:gd name="connsiteX2" fmla="*/ 3587971 w 3587971"/>
              <a:gd name="connsiteY2" fmla="*/ 1258129 h 3252111"/>
              <a:gd name="connsiteX3" fmla="*/ 1399310 w 3587971"/>
              <a:gd name="connsiteY3" fmla="*/ 0 h 3252111"/>
              <a:gd name="connsiteX0" fmla="*/ 1396734 w 3585395"/>
              <a:gd name="connsiteY0" fmla="*/ 0 h 3264990"/>
              <a:gd name="connsiteX1" fmla="*/ 0 w 3585395"/>
              <a:gd name="connsiteY1" fmla="*/ 3264990 h 3264990"/>
              <a:gd name="connsiteX2" fmla="*/ 3585395 w 3585395"/>
              <a:gd name="connsiteY2" fmla="*/ 1258129 h 3264990"/>
              <a:gd name="connsiteX3" fmla="*/ 1396734 w 3585395"/>
              <a:gd name="connsiteY3" fmla="*/ 0 h 3264990"/>
              <a:gd name="connsiteX0" fmla="*/ 1404461 w 3593122"/>
              <a:gd name="connsiteY0" fmla="*/ 0 h 3267566"/>
              <a:gd name="connsiteX1" fmla="*/ 0 w 3593122"/>
              <a:gd name="connsiteY1" fmla="*/ 3267566 h 3267566"/>
              <a:gd name="connsiteX2" fmla="*/ 3593122 w 3593122"/>
              <a:gd name="connsiteY2" fmla="*/ 1258129 h 3267566"/>
              <a:gd name="connsiteX3" fmla="*/ 1404461 w 3593122"/>
              <a:gd name="connsiteY3" fmla="*/ 0 h 3267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3122" h="3267566">
                <a:moveTo>
                  <a:pt x="1404461" y="0"/>
                </a:moveTo>
                <a:lnTo>
                  <a:pt x="0" y="3267566"/>
                </a:lnTo>
                <a:lnTo>
                  <a:pt x="3593122" y="1258129"/>
                </a:lnTo>
                <a:lnTo>
                  <a:pt x="140446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3" name="Freeform 6">
            <a:extLst>
              <a:ext uri="{FF2B5EF4-FFF2-40B4-BE49-F238E27FC236}">
                <a16:creationId xmlns:a16="http://schemas.microsoft.com/office/drawing/2014/main" id="{D4AC202D-B2C2-465A-947A-C1FD0D782096}"/>
              </a:ext>
            </a:extLst>
          </p:cNvPr>
          <p:cNvSpPr/>
          <p:nvPr userDrawn="1"/>
        </p:nvSpPr>
        <p:spPr>
          <a:xfrm>
            <a:off x="1390330" y="1741468"/>
            <a:ext cx="2199979" cy="3164694"/>
          </a:xfrm>
          <a:custGeom>
            <a:avLst/>
            <a:gdLst>
              <a:gd name="connsiteX0" fmla="*/ 1739462 w 2186152"/>
              <a:gd name="connsiteY0" fmla="*/ 0 h 3095296"/>
              <a:gd name="connsiteX1" fmla="*/ 0 w 2186152"/>
              <a:gd name="connsiteY1" fmla="*/ 1891862 h 3095296"/>
              <a:gd name="connsiteX2" fmla="*/ 2186152 w 2186152"/>
              <a:gd name="connsiteY2" fmla="*/ 3095296 h 3095296"/>
              <a:gd name="connsiteX3" fmla="*/ 1739462 w 2186152"/>
              <a:gd name="connsiteY3" fmla="*/ 0 h 3095296"/>
              <a:gd name="connsiteX0" fmla="*/ 1733563 w 2186152"/>
              <a:gd name="connsiteY0" fmla="*/ 0 h 3112994"/>
              <a:gd name="connsiteX1" fmla="*/ 0 w 2186152"/>
              <a:gd name="connsiteY1" fmla="*/ 1909560 h 3112994"/>
              <a:gd name="connsiteX2" fmla="*/ 2186152 w 2186152"/>
              <a:gd name="connsiteY2" fmla="*/ 3112994 h 3112994"/>
              <a:gd name="connsiteX3" fmla="*/ 1733563 w 2186152"/>
              <a:gd name="connsiteY3" fmla="*/ 0 h 3112994"/>
              <a:gd name="connsiteX0" fmla="*/ 1752613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52613 w 2186152"/>
              <a:gd name="connsiteY3" fmla="*/ 0 h 3108232"/>
              <a:gd name="connsiteX0" fmla="*/ 1738326 w 2186152"/>
              <a:gd name="connsiteY0" fmla="*/ 0 h 3108232"/>
              <a:gd name="connsiteX1" fmla="*/ 0 w 2186152"/>
              <a:gd name="connsiteY1" fmla="*/ 1904798 h 3108232"/>
              <a:gd name="connsiteX2" fmla="*/ 2186152 w 2186152"/>
              <a:gd name="connsiteY2" fmla="*/ 3108232 h 3108232"/>
              <a:gd name="connsiteX3" fmla="*/ 1738326 w 2186152"/>
              <a:gd name="connsiteY3" fmla="*/ 0 h 3108232"/>
              <a:gd name="connsiteX0" fmla="*/ 1724039 w 2186152"/>
              <a:gd name="connsiteY0" fmla="*/ 0 h 3089182"/>
              <a:gd name="connsiteX1" fmla="*/ 0 w 2186152"/>
              <a:gd name="connsiteY1" fmla="*/ 1885748 h 3089182"/>
              <a:gd name="connsiteX2" fmla="*/ 2186152 w 2186152"/>
              <a:gd name="connsiteY2" fmla="*/ 3089182 h 3089182"/>
              <a:gd name="connsiteX3" fmla="*/ 1724039 w 2186152"/>
              <a:gd name="connsiteY3" fmla="*/ 0 h 3089182"/>
              <a:gd name="connsiteX0" fmla="*/ 1743089 w 2205202"/>
              <a:gd name="connsiteY0" fmla="*/ 0 h 3089182"/>
              <a:gd name="connsiteX1" fmla="*/ 0 w 2205202"/>
              <a:gd name="connsiteY1" fmla="*/ 1861935 h 3089182"/>
              <a:gd name="connsiteX2" fmla="*/ 2205202 w 2205202"/>
              <a:gd name="connsiteY2" fmla="*/ 3089182 h 3089182"/>
              <a:gd name="connsiteX3" fmla="*/ 1743089 w 2205202"/>
              <a:gd name="connsiteY3" fmla="*/ 0 h 3089182"/>
              <a:gd name="connsiteX0" fmla="*/ 1733564 w 2205202"/>
              <a:gd name="connsiteY0" fmla="*/ 0 h 3079657"/>
              <a:gd name="connsiteX1" fmla="*/ 0 w 2205202"/>
              <a:gd name="connsiteY1" fmla="*/ 1852410 h 3079657"/>
              <a:gd name="connsiteX2" fmla="*/ 2205202 w 2205202"/>
              <a:gd name="connsiteY2" fmla="*/ 3079657 h 3079657"/>
              <a:gd name="connsiteX3" fmla="*/ 1733564 w 2205202"/>
              <a:gd name="connsiteY3" fmla="*/ 0 h 3079657"/>
              <a:gd name="connsiteX0" fmla="*/ 1695464 w 2167102"/>
              <a:gd name="connsiteY0" fmla="*/ 0 h 3079657"/>
              <a:gd name="connsiteX1" fmla="*/ 0 w 2167102"/>
              <a:gd name="connsiteY1" fmla="*/ 1871460 h 3079657"/>
              <a:gd name="connsiteX2" fmla="*/ 2167102 w 2167102"/>
              <a:gd name="connsiteY2" fmla="*/ 3079657 h 3079657"/>
              <a:gd name="connsiteX3" fmla="*/ 1695464 w 2167102"/>
              <a:gd name="connsiteY3" fmla="*/ 0 h 3079657"/>
              <a:gd name="connsiteX0" fmla="*/ 1724039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4039 w 2195677"/>
              <a:gd name="connsiteY3" fmla="*/ 0 h 3079657"/>
              <a:gd name="connsiteX0" fmla="*/ 17460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46073 w 2195677"/>
              <a:gd name="connsiteY3" fmla="*/ 0 h 3079657"/>
              <a:gd name="connsiteX0" fmla="*/ 1714323 w 2195677"/>
              <a:gd name="connsiteY0" fmla="*/ 0 h 3098707"/>
              <a:gd name="connsiteX1" fmla="*/ 0 w 2195677"/>
              <a:gd name="connsiteY1" fmla="*/ 1885748 h 3098707"/>
              <a:gd name="connsiteX2" fmla="*/ 2195677 w 2195677"/>
              <a:gd name="connsiteY2" fmla="*/ 3098707 h 3098707"/>
              <a:gd name="connsiteX3" fmla="*/ 1714323 w 2195677"/>
              <a:gd name="connsiteY3" fmla="*/ 0 h 3098707"/>
              <a:gd name="connsiteX0" fmla="*/ 1720673 w 2195677"/>
              <a:gd name="connsiteY0" fmla="*/ 0 h 3092357"/>
              <a:gd name="connsiteX1" fmla="*/ 0 w 2195677"/>
              <a:gd name="connsiteY1" fmla="*/ 1879398 h 3092357"/>
              <a:gd name="connsiteX2" fmla="*/ 2195677 w 2195677"/>
              <a:gd name="connsiteY2" fmla="*/ 3092357 h 3092357"/>
              <a:gd name="connsiteX3" fmla="*/ 1720673 w 2195677"/>
              <a:gd name="connsiteY3" fmla="*/ 0 h 3092357"/>
              <a:gd name="connsiteX0" fmla="*/ 1739723 w 2195677"/>
              <a:gd name="connsiteY0" fmla="*/ 0 h 3086007"/>
              <a:gd name="connsiteX1" fmla="*/ 0 w 2195677"/>
              <a:gd name="connsiteY1" fmla="*/ 1873048 h 3086007"/>
              <a:gd name="connsiteX2" fmla="*/ 2195677 w 2195677"/>
              <a:gd name="connsiteY2" fmla="*/ 3086007 h 3086007"/>
              <a:gd name="connsiteX3" fmla="*/ 1739723 w 2195677"/>
              <a:gd name="connsiteY3" fmla="*/ 0 h 3086007"/>
              <a:gd name="connsiteX0" fmla="*/ 1720673 w 2195677"/>
              <a:gd name="connsiteY0" fmla="*/ 0 h 3155857"/>
              <a:gd name="connsiteX1" fmla="*/ 0 w 2195677"/>
              <a:gd name="connsiteY1" fmla="*/ 1942898 h 3155857"/>
              <a:gd name="connsiteX2" fmla="*/ 2195677 w 2195677"/>
              <a:gd name="connsiteY2" fmla="*/ 3155857 h 3155857"/>
              <a:gd name="connsiteX3" fmla="*/ 1720673 w 2195677"/>
              <a:gd name="connsiteY3" fmla="*/ 0 h 3155857"/>
              <a:gd name="connsiteX0" fmla="*/ 1720673 w 2195677"/>
              <a:gd name="connsiteY0" fmla="*/ 0 h 3079657"/>
              <a:gd name="connsiteX1" fmla="*/ 0 w 2195677"/>
              <a:gd name="connsiteY1" fmla="*/ 1866698 h 3079657"/>
              <a:gd name="connsiteX2" fmla="*/ 2195677 w 2195677"/>
              <a:gd name="connsiteY2" fmla="*/ 3079657 h 3079657"/>
              <a:gd name="connsiteX3" fmla="*/ 1720673 w 2195677"/>
              <a:gd name="connsiteY3" fmla="*/ 0 h 3079657"/>
              <a:gd name="connsiteX0" fmla="*/ 1720673 w 2195677"/>
              <a:gd name="connsiteY0" fmla="*/ 0 h 3149507"/>
              <a:gd name="connsiteX1" fmla="*/ 0 w 2195677"/>
              <a:gd name="connsiteY1" fmla="*/ 1936548 h 3149507"/>
              <a:gd name="connsiteX2" fmla="*/ 2195677 w 2195677"/>
              <a:gd name="connsiteY2" fmla="*/ 3149507 h 3149507"/>
              <a:gd name="connsiteX3" fmla="*/ 1720673 w 219567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39723 w 2214727"/>
              <a:gd name="connsiteY0" fmla="*/ 0 h 3149507"/>
              <a:gd name="connsiteX1" fmla="*/ 0 w 2214727"/>
              <a:gd name="connsiteY1" fmla="*/ 1936548 h 3149507"/>
              <a:gd name="connsiteX2" fmla="*/ 2214727 w 2214727"/>
              <a:gd name="connsiteY2" fmla="*/ 3149507 h 3149507"/>
              <a:gd name="connsiteX3" fmla="*/ 1739723 w 2214727"/>
              <a:gd name="connsiteY3" fmla="*/ 0 h 3149507"/>
              <a:gd name="connsiteX0" fmla="*/ 1724975 w 2199979"/>
              <a:gd name="connsiteY0" fmla="*/ 0 h 3149507"/>
              <a:gd name="connsiteX1" fmla="*/ 0 w 2199979"/>
              <a:gd name="connsiteY1" fmla="*/ 1921800 h 3149507"/>
              <a:gd name="connsiteX2" fmla="*/ 2199979 w 2199979"/>
              <a:gd name="connsiteY2" fmla="*/ 3149507 h 3149507"/>
              <a:gd name="connsiteX3" fmla="*/ 1724975 w 2199979"/>
              <a:gd name="connsiteY3" fmla="*/ 0 h 3149507"/>
              <a:gd name="connsiteX0" fmla="*/ 1722399 w 2199979"/>
              <a:gd name="connsiteY0" fmla="*/ 0 h 3072234"/>
              <a:gd name="connsiteX1" fmla="*/ 0 w 2199979"/>
              <a:gd name="connsiteY1" fmla="*/ 1844527 h 3072234"/>
              <a:gd name="connsiteX2" fmla="*/ 2199979 w 2199979"/>
              <a:gd name="connsiteY2" fmla="*/ 3072234 h 3072234"/>
              <a:gd name="connsiteX3" fmla="*/ 1722399 w 2199979"/>
              <a:gd name="connsiteY3" fmla="*/ 0 h 3072234"/>
              <a:gd name="connsiteX0" fmla="*/ 1722399 w 2199979"/>
              <a:gd name="connsiteY0" fmla="*/ 0 h 3123750"/>
              <a:gd name="connsiteX1" fmla="*/ 0 w 2199979"/>
              <a:gd name="connsiteY1" fmla="*/ 1896043 h 3123750"/>
              <a:gd name="connsiteX2" fmla="*/ 2199979 w 2199979"/>
              <a:gd name="connsiteY2" fmla="*/ 3123750 h 3123750"/>
              <a:gd name="connsiteX3" fmla="*/ 1722399 w 2199979"/>
              <a:gd name="connsiteY3" fmla="*/ 0 h 3123750"/>
              <a:gd name="connsiteX0" fmla="*/ 1736047 w 2199979"/>
              <a:gd name="connsiteY0" fmla="*/ 0 h 3164694"/>
              <a:gd name="connsiteX1" fmla="*/ 0 w 2199979"/>
              <a:gd name="connsiteY1" fmla="*/ 1936987 h 3164694"/>
              <a:gd name="connsiteX2" fmla="*/ 2199979 w 2199979"/>
              <a:gd name="connsiteY2" fmla="*/ 3164694 h 3164694"/>
              <a:gd name="connsiteX3" fmla="*/ 1736047 w 2199979"/>
              <a:gd name="connsiteY3" fmla="*/ 0 h 3164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99979" h="3164694">
                <a:moveTo>
                  <a:pt x="1736047" y="0"/>
                </a:moveTo>
                <a:lnTo>
                  <a:pt x="0" y="1936987"/>
                </a:lnTo>
                <a:lnTo>
                  <a:pt x="2199979" y="3164694"/>
                </a:lnTo>
                <a:lnTo>
                  <a:pt x="1736047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4" name="Freeform 7">
            <a:extLst>
              <a:ext uri="{FF2B5EF4-FFF2-40B4-BE49-F238E27FC236}">
                <a16:creationId xmlns:a16="http://schemas.microsoft.com/office/drawing/2014/main" id="{61EF25C6-527F-4054-B2C4-13E661ACC907}"/>
              </a:ext>
            </a:extLst>
          </p:cNvPr>
          <p:cNvSpPr/>
          <p:nvPr userDrawn="1"/>
        </p:nvSpPr>
        <p:spPr>
          <a:xfrm>
            <a:off x="6375805" y="1"/>
            <a:ext cx="4644129" cy="1222744"/>
          </a:xfrm>
          <a:custGeom>
            <a:avLst/>
            <a:gdLst>
              <a:gd name="connsiteX0" fmla="*/ 0 w 4550735"/>
              <a:gd name="connsiteY0" fmla="*/ 0 h 1222745"/>
              <a:gd name="connsiteX1" fmla="*/ 1222744 w 4550735"/>
              <a:gd name="connsiteY1" fmla="*/ 1222745 h 1222745"/>
              <a:gd name="connsiteX2" fmla="*/ 4550735 w 4550735"/>
              <a:gd name="connsiteY2" fmla="*/ 10633 h 1222745"/>
              <a:gd name="connsiteX3" fmla="*/ 0 w 4550735"/>
              <a:gd name="connsiteY3" fmla="*/ 0 h 1222745"/>
              <a:gd name="connsiteX0" fmla="*/ 0 w 4582633"/>
              <a:gd name="connsiteY0" fmla="*/ 10633 h 1212112"/>
              <a:gd name="connsiteX1" fmla="*/ 1254642 w 4582633"/>
              <a:gd name="connsiteY1" fmla="*/ 1212112 h 1212112"/>
              <a:gd name="connsiteX2" fmla="*/ 4582633 w 4582633"/>
              <a:gd name="connsiteY2" fmla="*/ 0 h 1212112"/>
              <a:gd name="connsiteX3" fmla="*/ 0 w 4582633"/>
              <a:gd name="connsiteY3" fmla="*/ 10633 h 1212112"/>
              <a:gd name="connsiteX0" fmla="*/ 0 w 4566685"/>
              <a:gd name="connsiteY0" fmla="*/ 0 h 1228061"/>
              <a:gd name="connsiteX1" fmla="*/ 1238694 w 4566685"/>
              <a:gd name="connsiteY1" fmla="*/ 1228061 h 1228061"/>
              <a:gd name="connsiteX2" fmla="*/ 4566685 w 4566685"/>
              <a:gd name="connsiteY2" fmla="*/ 15949 h 1228061"/>
              <a:gd name="connsiteX3" fmla="*/ 0 w 4566685"/>
              <a:gd name="connsiteY3" fmla="*/ 0 h 1228061"/>
              <a:gd name="connsiteX0" fmla="*/ 0 w 4566685"/>
              <a:gd name="connsiteY0" fmla="*/ 0 h 1217428"/>
              <a:gd name="connsiteX1" fmla="*/ 1238694 w 4566685"/>
              <a:gd name="connsiteY1" fmla="*/ 1217428 h 1217428"/>
              <a:gd name="connsiteX2" fmla="*/ 4566685 w 4566685"/>
              <a:gd name="connsiteY2" fmla="*/ 5316 h 1217428"/>
              <a:gd name="connsiteX3" fmla="*/ 0 w 4566685"/>
              <a:gd name="connsiteY3" fmla="*/ 0 h 1217428"/>
              <a:gd name="connsiteX0" fmla="*/ 0 w 4614532"/>
              <a:gd name="connsiteY0" fmla="*/ 0 h 1217428"/>
              <a:gd name="connsiteX1" fmla="*/ 1238694 w 4614532"/>
              <a:gd name="connsiteY1" fmla="*/ 1217428 h 1217428"/>
              <a:gd name="connsiteX2" fmla="*/ 4614532 w 4614532"/>
              <a:gd name="connsiteY2" fmla="*/ 5316 h 1217428"/>
              <a:gd name="connsiteX3" fmla="*/ 0 w 4614532"/>
              <a:gd name="connsiteY3" fmla="*/ 0 h 1217428"/>
              <a:gd name="connsiteX0" fmla="*/ 0 w 4614532"/>
              <a:gd name="connsiteY0" fmla="*/ 0 h 1228060"/>
              <a:gd name="connsiteX1" fmla="*/ 1286541 w 4614532"/>
              <a:gd name="connsiteY1" fmla="*/ 1228060 h 1228060"/>
              <a:gd name="connsiteX2" fmla="*/ 4614532 w 4614532"/>
              <a:gd name="connsiteY2" fmla="*/ 5316 h 1228060"/>
              <a:gd name="connsiteX3" fmla="*/ 0 w 4614532"/>
              <a:gd name="connsiteY3" fmla="*/ 0 h 1228060"/>
              <a:gd name="connsiteX0" fmla="*/ 0 w 4614532"/>
              <a:gd name="connsiteY0" fmla="*/ 10633 h 1222744"/>
              <a:gd name="connsiteX1" fmla="*/ 1286541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10633 h 1201479"/>
              <a:gd name="connsiteX1" fmla="*/ 1238695 w 4614532"/>
              <a:gd name="connsiteY1" fmla="*/ 1201479 h 1201479"/>
              <a:gd name="connsiteX2" fmla="*/ 4614532 w 4614532"/>
              <a:gd name="connsiteY2" fmla="*/ 0 h 1201479"/>
              <a:gd name="connsiteX3" fmla="*/ 0 w 4614532"/>
              <a:gd name="connsiteY3" fmla="*/ 10633 h 1201479"/>
              <a:gd name="connsiteX0" fmla="*/ 0 w 4614532"/>
              <a:gd name="connsiteY0" fmla="*/ 10633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10633 h 1222744"/>
              <a:gd name="connsiteX0" fmla="*/ 0 w 4614532"/>
              <a:gd name="connsiteY0" fmla="*/ 0 h 1222744"/>
              <a:gd name="connsiteX1" fmla="*/ 1249328 w 4614532"/>
              <a:gd name="connsiteY1" fmla="*/ 1222744 h 1222744"/>
              <a:gd name="connsiteX2" fmla="*/ 4614532 w 4614532"/>
              <a:gd name="connsiteY2" fmla="*/ 0 h 1222744"/>
              <a:gd name="connsiteX3" fmla="*/ 0 w 4614532"/>
              <a:gd name="connsiteY3" fmla="*/ 0 h 1222744"/>
              <a:gd name="connsiteX0" fmla="*/ 0 w 4630481"/>
              <a:gd name="connsiteY0" fmla="*/ 0 h 1222744"/>
              <a:gd name="connsiteX1" fmla="*/ 1249328 w 4630481"/>
              <a:gd name="connsiteY1" fmla="*/ 1222744 h 1222744"/>
              <a:gd name="connsiteX2" fmla="*/ 4630481 w 4630481"/>
              <a:gd name="connsiteY2" fmla="*/ 0 h 1222744"/>
              <a:gd name="connsiteX3" fmla="*/ 0 w 4630481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0 h 1222744"/>
              <a:gd name="connsiteX3" fmla="*/ 0 w 4671425"/>
              <a:gd name="connsiteY3" fmla="*/ 0 h 1222744"/>
              <a:gd name="connsiteX0" fmla="*/ 0 w 4671425"/>
              <a:gd name="connsiteY0" fmla="*/ 0 h 1222744"/>
              <a:gd name="connsiteX1" fmla="*/ 1290272 w 4671425"/>
              <a:gd name="connsiteY1" fmla="*/ 1222744 h 1222744"/>
              <a:gd name="connsiteX2" fmla="*/ 4671425 w 4671425"/>
              <a:gd name="connsiteY2" fmla="*/ 614149 h 1222744"/>
              <a:gd name="connsiteX3" fmla="*/ 0 w 4671425"/>
              <a:gd name="connsiteY3" fmla="*/ 0 h 1222744"/>
              <a:gd name="connsiteX0" fmla="*/ 0 w 4657777"/>
              <a:gd name="connsiteY0" fmla="*/ 13648 h 1236392"/>
              <a:gd name="connsiteX1" fmla="*/ 1290272 w 4657777"/>
              <a:gd name="connsiteY1" fmla="*/ 1236392 h 1236392"/>
              <a:gd name="connsiteX2" fmla="*/ 4657777 w 4657777"/>
              <a:gd name="connsiteY2" fmla="*/ 0 h 1236392"/>
              <a:gd name="connsiteX3" fmla="*/ 0 w 4657777"/>
              <a:gd name="connsiteY3" fmla="*/ 13648 h 1236392"/>
              <a:gd name="connsiteX0" fmla="*/ 0 w 4644129"/>
              <a:gd name="connsiteY0" fmla="*/ 0 h 1222744"/>
              <a:gd name="connsiteX1" fmla="*/ 1290272 w 4644129"/>
              <a:gd name="connsiteY1" fmla="*/ 1222744 h 1222744"/>
              <a:gd name="connsiteX2" fmla="*/ 4644129 w 4644129"/>
              <a:gd name="connsiteY2" fmla="*/ 0 h 1222744"/>
              <a:gd name="connsiteX3" fmla="*/ 0 w 4644129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4129" h="1222744">
                <a:moveTo>
                  <a:pt x="0" y="0"/>
                </a:moveTo>
                <a:lnTo>
                  <a:pt x="1290272" y="1222744"/>
                </a:lnTo>
                <a:lnTo>
                  <a:pt x="4644129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Freeform 8">
            <a:extLst>
              <a:ext uri="{FF2B5EF4-FFF2-40B4-BE49-F238E27FC236}">
                <a16:creationId xmlns:a16="http://schemas.microsoft.com/office/drawing/2014/main" id="{A8F1371B-B0E6-4D84-8A45-10D9839F6269}"/>
              </a:ext>
            </a:extLst>
          </p:cNvPr>
          <p:cNvSpPr/>
          <p:nvPr userDrawn="1"/>
        </p:nvSpPr>
        <p:spPr>
          <a:xfrm>
            <a:off x="4052439" y="2989173"/>
            <a:ext cx="3708351" cy="2971471"/>
          </a:xfrm>
          <a:custGeom>
            <a:avLst/>
            <a:gdLst>
              <a:gd name="connsiteX0" fmla="*/ 2291255 w 3641834"/>
              <a:gd name="connsiteY0" fmla="*/ 0 h 2958662"/>
              <a:gd name="connsiteX1" fmla="*/ 3641834 w 3641834"/>
              <a:gd name="connsiteY1" fmla="*/ 1692165 h 2958662"/>
              <a:gd name="connsiteX2" fmla="*/ 0 w 3641834"/>
              <a:gd name="connsiteY2" fmla="*/ 2958662 h 2958662"/>
              <a:gd name="connsiteX3" fmla="*/ 2291255 w 3641834"/>
              <a:gd name="connsiteY3" fmla="*/ 0 h 2958662"/>
              <a:gd name="connsiteX0" fmla="*/ 2291255 w 3641834"/>
              <a:gd name="connsiteY0" fmla="*/ 0 h 2963917"/>
              <a:gd name="connsiteX1" fmla="*/ 3641834 w 3641834"/>
              <a:gd name="connsiteY1" fmla="*/ 1697420 h 2963917"/>
              <a:gd name="connsiteX2" fmla="*/ 0 w 3641834"/>
              <a:gd name="connsiteY2" fmla="*/ 2963917 h 2963917"/>
              <a:gd name="connsiteX3" fmla="*/ 2291255 w 3641834"/>
              <a:gd name="connsiteY3" fmla="*/ 0 h 2963917"/>
              <a:gd name="connsiteX0" fmla="*/ 2301765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301765 w 3641834"/>
              <a:gd name="connsiteY3" fmla="*/ 0 h 2948152"/>
              <a:gd name="connsiteX0" fmla="*/ 2293452 w 3641834"/>
              <a:gd name="connsiteY0" fmla="*/ 0 h 2948152"/>
              <a:gd name="connsiteX1" fmla="*/ 3641834 w 3641834"/>
              <a:gd name="connsiteY1" fmla="*/ 1681655 h 2948152"/>
              <a:gd name="connsiteX2" fmla="*/ 0 w 3641834"/>
              <a:gd name="connsiteY2" fmla="*/ 2948152 h 2948152"/>
              <a:gd name="connsiteX3" fmla="*/ 2293452 w 3641834"/>
              <a:gd name="connsiteY3" fmla="*/ 0 h 2948152"/>
              <a:gd name="connsiteX0" fmla="*/ 2305379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305379 w 3653761"/>
              <a:gd name="connsiteY3" fmla="*/ 0 h 2944176"/>
              <a:gd name="connsiteX0" fmla="*/ 2291731 w 3653761"/>
              <a:gd name="connsiteY0" fmla="*/ 0 h 2944176"/>
              <a:gd name="connsiteX1" fmla="*/ 3653761 w 3653761"/>
              <a:gd name="connsiteY1" fmla="*/ 1681655 h 2944176"/>
              <a:gd name="connsiteX2" fmla="*/ 0 w 3653761"/>
              <a:gd name="connsiteY2" fmla="*/ 2944176 h 2944176"/>
              <a:gd name="connsiteX3" fmla="*/ 2291731 w 3653761"/>
              <a:gd name="connsiteY3" fmla="*/ 0 h 2944176"/>
              <a:gd name="connsiteX0" fmla="*/ 2305378 w 3653761"/>
              <a:gd name="connsiteY0" fmla="*/ 0 h 2971471"/>
              <a:gd name="connsiteX1" fmla="*/ 3653761 w 3653761"/>
              <a:gd name="connsiteY1" fmla="*/ 1708950 h 2971471"/>
              <a:gd name="connsiteX2" fmla="*/ 0 w 3653761"/>
              <a:gd name="connsiteY2" fmla="*/ 2971471 h 2971471"/>
              <a:gd name="connsiteX3" fmla="*/ 2305378 w 3653761"/>
              <a:gd name="connsiteY3" fmla="*/ 0 h 2971471"/>
              <a:gd name="connsiteX0" fmla="*/ 2305378 w 3694704"/>
              <a:gd name="connsiteY0" fmla="*/ 0 h 2971471"/>
              <a:gd name="connsiteX1" fmla="*/ 3694704 w 3694704"/>
              <a:gd name="connsiteY1" fmla="*/ 1722598 h 2971471"/>
              <a:gd name="connsiteX2" fmla="*/ 0 w 3694704"/>
              <a:gd name="connsiteY2" fmla="*/ 2971471 h 2971471"/>
              <a:gd name="connsiteX3" fmla="*/ 2305378 w 3694704"/>
              <a:gd name="connsiteY3" fmla="*/ 0 h 2971471"/>
              <a:gd name="connsiteX0" fmla="*/ 2319025 w 3708351"/>
              <a:gd name="connsiteY0" fmla="*/ 0 h 2971471"/>
              <a:gd name="connsiteX1" fmla="*/ 3708351 w 3708351"/>
              <a:gd name="connsiteY1" fmla="*/ 1722598 h 2971471"/>
              <a:gd name="connsiteX2" fmla="*/ 0 w 3708351"/>
              <a:gd name="connsiteY2" fmla="*/ 2971471 h 2971471"/>
              <a:gd name="connsiteX3" fmla="*/ 2319025 w 3708351"/>
              <a:gd name="connsiteY3" fmla="*/ 0 h 29714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08351" h="2971471">
                <a:moveTo>
                  <a:pt x="2319025" y="0"/>
                </a:moveTo>
                <a:lnTo>
                  <a:pt x="3708351" y="1722598"/>
                </a:lnTo>
                <a:lnTo>
                  <a:pt x="0" y="2971471"/>
                </a:lnTo>
                <a:lnTo>
                  <a:pt x="231902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5000">
                <a:schemeClr val="accent2"/>
              </a:gs>
            </a:gsLst>
            <a:lin ang="12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6" name="Freeform 9">
            <a:extLst>
              <a:ext uri="{FF2B5EF4-FFF2-40B4-BE49-F238E27FC236}">
                <a16:creationId xmlns:a16="http://schemas.microsoft.com/office/drawing/2014/main" id="{471EC3F5-CC6A-4DEA-B75F-5A096101FEED}"/>
              </a:ext>
            </a:extLst>
          </p:cNvPr>
          <p:cNvSpPr/>
          <p:nvPr userDrawn="1"/>
        </p:nvSpPr>
        <p:spPr>
          <a:xfrm>
            <a:off x="-3085" y="-4317"/>
            <a:ext cx="3366670" cy="1808791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346198"/>
              <a:gd name="connsiteY0" fmla="*/ 0 h 1771137"/>
              <a:gd name="connsiteX1" fmla="*/ 3346198 w 3346198"/>
              <a:gd name="connsiteY1" fmla="*/ 3282 h 1771137"/>
              <a:gd name="connsiteX2" fmla="*/ 3153403 w 3346198"/>
              <a:gd name="connsiteY2" fmla="*/ 1771137 h 1771137"/>
              <a:gd name="connsiteX3" fmla="*/ 0 w 3346198"/>
              <a:gd name="connsiteY3" fmla="*/ 0 h 1771137"/>
              <a:gd name="connsiteX0" fmla="*/ 0 w 3346198"/>
              <a:gd name="connsiteY0" fmla="*/ 0 h 1766374"/>
              <a:gd name="connsiteX1" fmla="*/ 3346198 w 3346198"/>
              <a:gd name="connsiteY1" fmla="*/ 3282 h 1766374"/>
              <a:gd name="connsiteX2" fmla="*/ 3110540 w 3346198"/>
              <a:gd name="connsiteY2" fmla="*/ 1766374 h 1766374"/>
              <a:gd name="connsiteX3" fmla="*/ 0 w 3346198"/>
              <a:gd name="connsiteY3" fmla="*/ 0 h 1766374"/>
              <a:gd name="connsiteX0" fmla="*/ 0 w 3346198"/>
              <a:gd name="connsiteY0" fmla="*/ 0 h 1780662"/>
              <a:gd name="connsiteX1" fmla="*/ 3346198 w 3346198"/>
              <a:gd name="connsiteY1" fmla="*/ 3282 h 1780662"/>
              <a:gd name="connsiteX2" fmla="*/ 3091490 w 3346198"/>
              <a:gd name="connsiteY2" fmla="*/ 1780662 h 1780662"/>
              <a:gd name="connsiteX3" fmla="*/ 0 w 3346198"/>
              <a:gd name="connsiteY3" fmla="*/ 0 h 1780662"/>
              <a:gd name="connsiteX0" fmla="*/ 0 w 3346198"/>
              <a:gd name="connsiteY0" fmla="*/ 0 h 1804474"/>
              <a:gd name="connsiteX1" fmla="*/ 3346198 w 3346198"/>
              <a:gd name="connsiteY1" fmla="*/ 3282 h 1804474"/>
              <a:gd name="connsiteX2" fmla="*/ 3115303 w 3346198"/>
              <a:gd name="connsiteY2" fmla="*/ 1804474 h 1804474"/>
              <a:gd name="connsiteX3" fmla="*/ 0 w 3346198"/>
              <a:gd name="connsiteY3" fmla="*/ 0 h 1804474"/>
              <a:gd name="connsiteX0" fmla="*/ 0 w 3346198"/>
              <a:gd name="connsiteY0" fmla="*/ 10366 h 1801192"/>
              <a:gd name="connsiteX1" fmla="*/ 3346198 w 3346198"/>
              <a:gd name="connsiteY1" fmla="*/ 0 h 1801192"/>
              <a:gd name="connsiteX2" fmla="*/ 3115303 w 3346198"/>
              <a:gd name="connsiteY2" fmla="*/ 1801192 h 1801192"/>
              <a:gd name="connsiteX3" fmla="*/ 0 w 3346198"/>
              <a:gd name="connsiteY3" fmla="*/ 10366 h 1801192"/>
              <a:gd name="connsiteX0" fmla="*/ 0 w 3366670"/>
              <a:gd name="connsiteY0" fmla="*/ 0 h 1818122"/>
              <a:gd name="connsiteX1" fmla="*/ 3366670 w 3366670"/>
              <a:gd name="connsiteY1" fmla="*/ 16930 h 1818122"/>
              <a:gd name="connsiteX2" fmla="*/ 3135775 w 3366670"/>
              <a:gd name="connsiteY2" fmla="*/ 1818122 h 1818122"/>
              <a:gd name="connsiteX3" fmla="*/ 0 w 3366670"/>
              <a:gd name="connsiteY3" fmla="*/ 0 h 1818122"/>
              <a:gd name="connsiteX0" fmla="*/ 0 w 3363258"/>
              <a:gd name="connsiteY0" fmla="*/ 0 h 1811298"/>
              <a:gd name="connsiteX1" fmla="*/ 3363258 w 3363258"/>
              <a:gd name="connsiteY1" fmla="*/ 10106 h 1811298"/>
              <a:gd name="connsiteX2" fmla="*/ 3132363 w 3363258"/>
              <a:gd name="connsiteY2" fmla="*/ 1811298 h 1811298"/>
              <a:gd name="connsiteX3" fmla="*/ 0 w 3363258"/>
              <a:gd name="connsiteY3" fmla="*/ 0 h 1811298"/>
              <a:gd name="connsiteX0" fmla="*/ 0 w 3363258"/>
              <a:gd name="connsiteY0" fmla="*/ 0 h 1807886"/>
              <a:gd name="connsiteX1" fmla="*/ 3363258 w 3363258"/>
              <a:gd name="connsiteY1" fmla="*/ 6694 h 1807886"/>
              <a:gd name="connsiteX2" fmla="*/ 3132363 w 3363258"/>
              <a:gd name="connsiteY2" fmla="*/ 1807886 h 1807886"/>
              <a:gd name="connsiteX3" fmla="*/ 0 w 3363258"/>
              <a:gd name="connsiteY3" fmla="*/ 0 h 1807886"/>
              <a:gd name="connsiteX0" fmla="*/ 0 w 3363258"/>
              <a:gd name="connsiteY0" fmla="*/ 3542 h 1801192"/>
              <a:gd name="connsiteX1" fmla="*/ 3363258 w 3363258"/>
              <a:gd name="connsiteY1" fmla="*/ 0 h 1801192"/>
              <a:gd name="connsiteX2" fmla="*/ 3132363 w 3363258"/>
              <a:gd name="connsiteY2" fmla="*/ 1801192 h 1801192"/>
              <a:gd name="connsiteX3" fmla="*/ 0 w 3363258"/>
              <a:gd name="connsiteY3" fmla="*/ 3542 h 1801192"/>
              <a:gd name="connsiteX0" fmla="*/ 0 w 3366670"/>
              <a:gd name="connsiteY0" fmla="*/ 0 h 1804474"/>
              <a:gd name="connsiteX1" fmla="*/ 3366670 w 3366670"/>
              <a:gd name="connsiteY1" fmla="*/ 3282 h 1804474"/>
              <a:gd name="connsiteX2" fmla="*/ 3135775 w 3366670"/>
              <a:gd name="connsiteY2" fmla="*/ 1804474 h 1804474"/>
              <a:gd name="connsiteX3" fmla="*/ 0 w 3366670"/>
              <a:gd name="connsiteY3" fmla="*/ 0 h 180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66670" h="1804474">
                <a:moveTo>
                  <a:pt x="0" y="0"/>
                </a:moveTo>
                <a:lnTo>
                  <a:pt x="3366670" y="3282"/>
                </a:lnTo>
                <a:lnTo>
                  <a:pt x="3135775" y="180447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7" name="Freeform 10">
            <a:extLst>
              <a:ext uri="{FF2B5EF4-FFF2-40B4-BE49-F238E27FC236}">
                <a16:creationId xmlns:a16="http://schemas.microsoft.com/office/drawing/2014/main" id="{CBD29963-234B-4479-A113-3D789647E2EE}"/>
              </a:ext>
            </a:extLst>
          </p:cNvPr>
          <p:cNvSpPr/>
          <p:nvPr userDrawn="1"/>
        </p:nvSpPr>
        <p:spPr>
          <a:xfrm>
            <a:off x="3111696" y="1778988"/>
            <a:ext cx="3269644" cy="3085357"/>
          </a:xfrm>
          <a:custGeom>
            <a:avLst/>
            <a:gdLst>
              <a:gd name="connsiteX0" fmla="*/ 0 w 3237186"/>
              <a:gd name="connsiteY0" fmla="*/ 0 h 3095296"/>
              <a:gd name="connsiteX1" fmla="*/ 441434 w 3237186"/>
              <a:gd name="connsiteY1" fmla="*/ 3095296 h 3095296"/>
              <a:gd name="connsiteX2" fmla="*/ 3237186 w 3237186"/>
              <a:gd name="connsiteY2" fmla="*/ 1255986 h 3095296"/>
              <a:gd name="connsiteX3" fmla="*/ 0 w 3237186"/>
              <a:gd name="connsiteY3" fmla="*/ 0 h 3095296"/>
              <a:gd name="connsiteX0" fmla="*/ 0 w 3237186"/>
              <a:gd name="connsiteY0" fmla="*/ 0 h 3109584"/>
              <a:gd name="connsiteX1" fmla="*/ 441434 w 3237186"/>
              <a:gd name="connsiteY1" fmla="*/ 3109584 h 3109584"/>
              <a:gd name="connsiteX2" fmla="*/ 3237186 w 3237186"/>
              <a:gd name="connsiteY2" fmla="*/ 1270274 h 3109584"/>
              <a:gd name="connsiteX3" fmla="*/ 0 w 3237186"/>
              <a:gd name="connsiteY3" fmla="*/ 0 h 3109584"/>
              <a:gd name="connsiteX0" fmla="*/ 0 w 3237186"/>
              <a:gd name="connsiteY0" fmla="*/ 0 h 3085764"/>
              <a:gd name="connsiteX1" fmla="*/ 441434 w 3237186"/>
              <a:gd name="connsiteY1" fmla="*/ 3085764 h 3085764"/>
              <a:gd name="connsiteX2" fmla="*/ 3237186 w 3237186"/>
              <a:gd name="connsiteY2" fmla="*/ 1246454 h 3085764"/>
              <a:gd name="connsiteX3" fmla="*/ 0 w 3237186"/>
              <a:gd name="connsiteY3" fmla="*/ 0 h 3085764"/>
              <a:gd name="connsiteX0" fmla="*/ 0 w 3255520"/>
              <a:gd name="connsiteY0" fmla="*/ 0 h 3085764"/>
              <a:gd name="connsiteX1" fmla="*/ 441434 w 3255520"/>
              <a:gd name="connsiteY1" fmla="*/ 3085764 h 3085764"/>
              <a:gd name="connsiteX2" fmla="*/ 3255520 w 3255520"/>
              <a:gd name="connsiteY2" fmla="*/ 1239108 h 3085764"/>
              <a:gd name="connsiteX3" fmla="*/ 0 w 3255520"/>
              <a:gd name="connsiteY3" fmla="*/ 0 h 3085764"/>
              <a:gd name="connsiteX0" fmla="*/ 0 w 3255520"/>
              <a:gd name="connsiteY0" fmla="*/ 0 h 3088940"/>
              <a:gd name="connsiteX1" fmla="*/ 460457 w 3255520"/>
              <a:gd name="connsiteY1" fmla="*/ 3088940 h 3088940"/>
              <a:gd name="connsiteX2" fmla="*/ 3255520 w 3255520"/>
              <a:gd name="connsiteY2" fmla="*/ 1239108 h 3088940"/>
              <a:gd name="connsiteX3" fmla="*/ 0 w 3255520"/>
              <a:gd name="connsiteY3" fmla="*/ 0 h 3088940"/>
              <a:gd name="connsiteX0" fmla="*/ 0 w 3262334"/>
              <a:gd name="connsiteY0" fmla="*/ 0 h 3088940"/>
              <a:gd name="connsiteX1" fmla="*/ 460457 w 3262334"/>
              <a:gd name="connsiteY1" fmla="*/ 3088940 h 3088940"/>
              <a:gd name="connsiteX2" fmla="*/ 3262334 w 3262334"/>
              <a:gd name="connsiteY2" fmla="*/ 1239108 h 3088940"/>
              <a:gd name="connsiteX3" fmla="*/ 0 w 3262334"/>
              <a:gd name="connsiteY3" fmla="*/ 0 h 3088940"/>
              <a:gd name="connsiteX0" fmla="*/ 0 w 3264905"/>
              <a:gd name="connsiteY0" fmla="*/ 0 h 3086363"/>
              <a:gd name="connsiteX1" fmla="*/ 463028 w 3264905"/>
              <a:gd name="connsiteY1" fmla="*/ 3086363 h 3086363"/>
              <a:gd name="connsiteX2" fmla="*/ 3264905 w 3264905"/>
              <a:gd name="connsiteY2" fmla="*/ 1236531 h 3086363"/>
              <a:gd name="connsiteX3" fmla="*/ 0 w 3264905"/>
              <a:gd name="connsiteY3" fmla="*/ 0 h 3086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4905" h="3086363">
                <a:moveTo>
                  <a:pt x="0" y="0"/>
                </a:moveTo>
                <a:lnTo>
                  <a:pt x="463028" y="3086363"/>
                </a:lnTo>
                <a:lnTo>
                  <a:pt x="3264905" y="1236531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8" name="Freeform 11">
            <a:extLst>
              <a:ext uri="{FF2B5EF4-FFF2-40B4-BE49-F238E27FC236}">
                <a16:creationId xmlns:a16="http://schemas.microsoft.com/office/drawing/2014/main" id="{C52C0FCD-0904-467F-B004-E180179231D3}"/>
              </a:ext>
            </a:extLst>
          </p:cNvPr>
          <p:cNvSpPr/>
          <p:nvPr userDrawn="1"/>
        </p:nvSpPr>
        <p:spPr>
          <a:xfrm>
            <a:off x="7713406" y="2411362"/>
            <a:ext cx="1983659" cy="4457360"/>
          </a:xfrm>
          <a:custGeom>
            <a:avLst/>
            <a:gdLst>
              <a:gd name="connsiteX0" fmla="*/ 1983659 w 1983659"/>
              <a:gd name="connsiteY0" fmla="*/ 0 h 4431891"/>
              <a:gd name="connsiteX1" fmla="*/ 1032388 w 1983659"/>
              <a:gd name="connsiteY1" fmla="*/ 4431891 h 4431891"/>
              <a:gd name="connsiteX2" fmla="*/ 0 w 1983659"/>
              <a:gd name="connsiteY2" fmla="*/ 2286000 h 4431891"/>
              <a:gd name="connsiteX3" fmla="*/ 1983659 w 1983659"/>
              <a:gd name="connsiteY3" fmla="*/ 0 h 4431891"/>
              <a:gd name="connsiteX0" fmla="*/ 1983659 w 1983659"/>
              <a:gd name="connsiteY0" fmla="*/ 0 h 4439842"/>
              <a:gd name="connsiteX1" fmla="*/ 1000583 w 1983659"/>
              <a:gd name="connsiteY1" fmla="*/ 4439842 h 4439842"/>
              <a:gd name="connsiteX2" fmla="*/ 0 w 1983659"/>
              <a:gd name="connsiteY2" fmla="*/ 2286000 h 4439842"/>
              <a:gd name="connsiteX3" fmla="*/ 1983659 w 1983659"/>
              <a:gd name="connsiteY3" fmla="*/ 0 h 4439842"/>
              <a:gd name="connsiteX0" fmla="*/ 1983659 w 1983659"/>
              <a:gd name="connsiteY0" fmla="*/ 0 h 4447794"/>
              <a:gd name="connsiteX1" fmla="*/ 1000583 w 1983659"/>
              <a:gd name="connsiteY1" fmla="*/ 4447794 h 4447794"/>
              <a:gd name="connsiteX2" fmla="*/ 0 w 1983659"/>
              <a:gd name="connsiteY2" fmla="*/ 2286000 h 4447794"/>
              <a:gd name="connsiteX3" fmla="*/ 1983659 w 1983659"/>
              <a:gd name="connsiteY3" fmla="*/ 0 h 4447794"/>
              <a:gd name="connsiteX0" fmla="*/ 1983659 w 1983659"/>
              <a:gd name="connsiteY0" fmla="*/ 0 h 4471648"/>
              <a:gd name="connsiteX1" fmla="*/ 1000583 w 1983659"/>
              <a:gd name="connsiteY1" fmla="*/ 4471648 h 4471648"/>
              <a:gd name="connsiteX2" fmla="*/ 0 w 1983659"/>
              <a:gd name="connsiteY2" fmla="*/ 2286000 h 4471648"/>
              <a:gd name="connsiteX3" fmla="*/ 1983659 w 1983659"/>
              <a:gd name="connsiteY3" fmla="*/ 0 h 4471648"/>
              <a:gd name="connsiteX0" fmla="*/ 1983659 w 1983659"/>
              <a:gd name="connsiteY0" fmla="*/ 0 h 4457360"/>
              <a:gd name="connsiteX1" fmla="*/ 995820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  <a:gd name="connsiteX0" fmla="*/ 1983659 w 1983659"/>
              <a:gd name="connsiteY0" fmla="*/ 0 h 4457360"/>
              <a:gd name="connsiteX1" fmla="*/ 991058 w 1983659"/>
              <a:gd name="connsiteY1" fmla="*/ 4457360 h 4457360"/>
              <a:gd name="connsiteX2" fmla="*/ 0 w 1983659"/>
              <a:gd name="connsiteY2" fmla="*/ 2286000 h 4457360"/>
              <a:gd name="connsiteX3" fmla="*/ 1983659 w 1983659"/>
              <a:gd name="connsiteY3" fmla="*/ 0 h 4457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83659" h="4457360">
                <a:moveTo>
                  <a:pt x="1983659" y="0"/>
                </a:moveTo>
                <a:lnTo>
                  <a:pt x="991058" y="4457360"/>
                </a:lnTo>
                <a:lnTo>
                  <a:pt x="0" y="2286000"/>
                </a:lnTo>
                <a:lnTo>
                  <a:pt x="1983659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73000">
                <a:schemeClr val="accent2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49" name="Freeform 12">
            <a:extLst>
              <a:ext uri="{FF2B5EF4-FFF2-40B4-BE49-F238E27FC236}">
                <a16:creationId xmlns:a16="http://schemas.microsoft.com/office/drawing/2014/main" id="{3A7FBB23-08F5-44B8-A990-8EED679C6703}"/>
              </a:ext>
            </a:extLst>
          </p:cNvPr>
          <p:cNvSpPr/>
          <p:nvPr userDrawn="1"/>
        </p:nvSpPr>
        <p:spPr>
          <a:xfrm>
            <a:off x="6341757" y="1209676"/>
            <a:ext cx="3359456" cy="1822946"/>
          </a:xfrm>
          <a:custGeom>
            <a:avLst/>
            <a:gdLst>
              <a:gd name="connsiteX0" fmla="*/ 1271587 w 3305175"/>
              <a:gd name="connsiteY0" fmla="*/ 0 h 1809750"/>
              <a:gd name="connsiteX1" fmla="*/ 3305175 w 3305175"/>
              <a:gd name="connsiteY1" fmla="*/ 1233487 h 1809750"/>
              <a:gd name="connsiteX2" fmla="*/ 0 w 3305175"/>
              <a:gd name="connsiteY2" fmla="*/ 1809750 h 1809750"/>
              <a:gd name="connsiteX3" fmla="*/ 1271587 w 3305175"/>
              <a:gd name="connsiteY3" fmla="*/ 0 h 1809750"/>
              <a:gd name="connsiteX0" fmla="*/ 1281112 w 3314700"/>
              <a:gd name="connsiteY0" fmla="*/ 0 h 1828800"/>
              <a:gd name="connsiteX1" fmla="*/ 3314700 w 3314700"/>
              <a:gd name="connsiteY1" fmla="*/ 1233487 h 1828800"/>
              <a:gd name="connsiteX2" fmla="*/ 0 w 3314700"/>
              <a:gd name="connsiteY2" fmla="*/ 1828800 h 1828800"/>
              <a:gd name="connsiteX3" fmla="*/ 1281112 w 3314700"/>
              <a:gd name="connsiteY3" fmla="*/ 0 h 1828800"/>
              <a:gd name="connsiteX0" fmla="*/ 1300162 w 3333750"/>
              <a:gd name="connsiteY0" fmla="*/ 0 h 1824037"/>
              <a:gd name="connsiteX1" fmla="*/ 3333750 w 3333750"/>
              <a:gd name="connsiteY1" fmla="*/ 1233487 h 1824037"/>
              <a:gd name="connsiteX2" fmla="*/ 0 w 3333750"/>
              <a:gd name="connsiteY2" fmla="*/ 1824037 h 1824037"/>
              <a:gd name="connsiteX3" fmla="*/ 1300162 w 3333750"/>
              <a:gd name="connsiteY3" fmla="*/ 0 h 1824037"/>
              <a:gd name="connsiteX0" fmla="*/ 1314449 w 3333750"/>
              <a:gd name="connsiteY0" fmla="*/ 0 h 1381124"/>
              <a:gd name="connsiteX1" fmla="*/ 3333750 w 3333750"/>
              <a:gd name="connsiteY1" fmla="*/ 790574 h 1381124"/>
              <a:gd name="connsiteX2" fmla="*/ 0 w 3333750"/>
              <a:gd name="connsiteY2" fmla="*/ 1381124 h 1381124"/>
              <a:gd name="connsiteX3" fmla="*/ 1314449 w 3333750"/>
              <a:gd name="connsiteY3" fmla="*/ 0 h 138112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00162 w 3333750"/>
              <a:gd name="connsiteY0" fmla="*/ 0 h 1819274"/>
              <a:gd name="connsiteX1" fmla="*/ 3333750 w 3333750"/>
              <a:gd name="connsiteY1" fmla="*/ 1228724 h 1819274"/>
              <a:gd name="connsiteX2" fmla="*/ 0 w 3333750"/>
              <a:gd name="connsiteY2" fmla="*/ 1819274 h 1819274"/>
              <a:gd name="connsiteX3" fmla="*/ 1300162 w 3333750"/>
              <a:gd name="connsiteY3" fmla="*/ 0 h 1819274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  <a:gd name="connsiteX0" fmla="*/ 1325868 w 3359456"/>
              <a:gd name="connsiteY0" fmla="*/ 0 h 1822946"/>
              <a:gd name="connsiteX1" fmla="*/ 3359456 w 3359456"/>
              <a:gd name="connsiteY1" fmla="*/ 1228724 h 1822946"/>
              <a:gd name="connsiteX2" fmla="*/ 0 w 3359456"/>
              <a:gd name="connsiteY2" fmla="*/ 1822946 h 1822946"/>
              <a:gd name="connsiteX3" fmla="*/ 1325868 w 3359456"/>
              <a:gd name="connsiteY3" fmla="*/ 0 h 18229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59456" h="1822946">
                <a:moveTo>
                  <a:pt x="1325868" y="0"/>
                </a:moveTo>
                <a:lnTo>
                  <a:pt x="3359456" y="1228724"/>
                </a:lnTo>
                <a:lnTo>
                  <a:pt x="0" y="1822946"/>
                </a:lnTo>
                <a:lnTo>
                  <a:pt x="1325868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96000">
                <a:schemeClr val="accent2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0" name="Freeform 13">
            <a:extLst>
              <a:ext uri="{FF2B5EF4-FFF2-40B4-BE49-F238E27FC236}">
                <a16:creationId xmlns:a16="http://schemas.microsoft.com/office/drawing/2014/main" id="{95CADEBE-28BC-4B2A-9D43-A8CFE1E222D6}"/>
              </a:ext>
            </a:extLst>
          </p:cNvPr>
          <p:cNvSpPr/>
          <p:nvPr userDrawn="1"/>
        </p:nvSpPr>
        <p:spPr>
          <a:xfrm>
            <a:off x="-227" y="-2"/>
            <a:ext cx="1040749" cy="6862615"/>
          </a:xfrm>
          <a:custGeom>
            <a:avLst/>
            <a:gdLst>
              <a:gd name="connsiteX0" fmla="*/ 0 w 1076445"/>
              <a:gd name="connsiteY0" fmla="*/ 0 h 6817489"/>
              <a:gd name="connsiteX1" fmla="*/ 1076445 w 1076445"/>
              <a:gd name="connsiteY1" fmla="*/ 1805651 h 6817489"/>
              <a:gd name="connsiteX2" fmla="*/ 11574 w 1076445"/>
              <a:gd name="connsiteY2" fmla="*/ 6817489 h 6817489"/>
              <a:gd name="connsiteX3" fmla="*/ 0 w 1076445"/>
              <a:gd name="connsiteY3" fmla="*/ 0 h 6817489"/>
              <a:gd name="connsiteX0" fmla="*/ 0 w 873245"/>
              <a:gd name="connsiteY0" fmla="*/ 0 h 6817489"/>
              <a:gd name="connsiteX1" fmla="*/ 873245 w 873245"/>
              <a:gd name="connsiteY1" fmla="*/ 1764376 h 6817489"/>
              <a:gd name="connsiteX2" fmla="*/ 11574 w 873245"/>
              <a:gd name="connsiteY2" fmla="*/ 6817489 h 6817489"/>
              <a:gd name="connsiteX3" fmla="*/ 0 w 873245"/>
              <a:gd name="connsiteY3" fmla="*/ 0 h 6817489"/>
              <a:gd name="connsiteX0" fmla="*/ 0 w 1047870"/>
              <a:gd name="connsiteY0" fmla="*/ 0 h 6817489"/>
              <a:gd name="connsiteX1" fmla="*/ 1047870 w 1047870"/>
              <a:gd name="connsiteY1" fmla="*/ 1770726 h 6817489"/>
              <a:gd name="connsiteX2" fmla="*/ 11574 w 1047870"/>
              <a:gd name="connsiteY2" fmla="*/ 6817489 h 6817489"/>
              <a:gd name="connsiteX3" fmla="*/ 0 w 1047870"/>
              <a:gd name="connsiteY3" fmla="*/ 0 h 6817489"/>
              <a:gd name="connsiteX0" fmla="*/ 0 w 698013"/>
              <a:gd name="connsiteY0" fmla="*/ 0 h 6817489"/>
              <a:gd name="connsiteX1" fmla="*/ 698013 w 698013"/>
              <a:gd name="connsiteY1" fmla="*/ 2181752 h 6817489"/>
              <a:gd name="connsiteX2" fmla="*/ 11574 w 698013"/>
              <a:gd name="connsiteY2" fmla="*/ 6817489 h 6817489"/>
              <a:gd name="connsiteX3" fmla="*/ 0 w 698013"/>
              <a:gd name="connsiteY3" fmla="*/ 0 h 6817489"/>
              <a:gd name="connsiteX0" fmla="*/ 0 w 1039919"/>
              <a:gd name="connsiteY0" fmla="*/ 0 h 6817489"/>
              <a:gd name="connsiteX1" fmla="*/ 1039919 w 1039919"/>
              <a:gd name="connsiteY1" fmla="*/ 1762823 h 6817489"/>
              <a:gd name="connsiteX2" fmla="*/ 11574 w 1039919"/>
              <a:gd name="connsiteY2" fmla="*/ 6817489 h 6817489"/>
              <a:gd name="connsiteX3" fmla="*/ 0 w 1039919"/>
              <a:gd name="connsiteY3" fmla="*/ 0 h 6817489"/>
              <a:gd name="connsiteX0" fmla="*/ 0 w 823788"/>
              <a:gd name="connsiteY0" fmla="*/ 0 h 6817489"/>
              <a:gd name="connsiteX1" fmla="*/ 823788 w 823788"/>
              <a:gd name="connsiteY1" fmla="*/ 1820668 h 6817489"/>
              <a:gd name="connsiteX2" fmla="*/ 11574 w 823788"/>
              <a:gd name="connsiteY2" fmla="*/ 6817489 h 6817489"/>
              <a:gd name="connsiteX3" fmla="*/ 0 w 823788"/>
              <a:gd name="connsiteY3" fmla="*/ 0 h 6817489"/>
              <a:gd name="connsiteX0" fmla="*/ 0 w 1035762"/>
              <a:gd name="connsiteY0" fmla="*/ 0 h 6817489"/>
              <a:gd name="connsiteX1" fmla="*/ 1035762 w 1035762"/>
              <a:gd name="connsiteY1" fmla="*/ 1766955 h 6817489"/>
              <a:gd name="connsiteX2" fmla="*/ 11574 w 1035762"/>
              <a:gd name="connsiteY2" fmla="*/ 6817489 h 6817489"/>
              <a:gd name="connsiteX3" fmla="*/ 0 w 1035762"/>
              <a:gd name="connsiteY3" fmla="*/ 0 h 6817489"/>
              <a:gd name="connsiteX0" fmla="*/ 0 w 1040524"/>
              <a:gd name="connsiteY0" fmla="*/ 0 h 6817489"/>
              <a:gd name="connsiteX1" fmla="*/ 1040524 w 1040524"/>
              <a:gd name="connsiteY1" fmla="*/ 1762221 h 6817489"/>
              <a:gd name="connsiteX2" fmla="*/ 11574 w 1040524"/>
              <a:gd name="connsiteY2" fmla="*/ 6817489 h 6817489"/>
              <a:gd name="connsiteX3" fmla="*/ 0 w 1040524"/>
              <a:gd name="connsiteY3" fmla="*/ 0 h 6817489"/>
              <a:gd name="connsiteX0" fmla="*/ 225 w 1040749"/>
              <a:gd name="connsiteY0" fmla="*/ 0 h 6858541"/>
              <a:gd name="connsiteX1" fmla="*/ 1040749 w 1040749"/>
              <a:gd name="connsiteY1" fmla="*/ 1762221 h 6858541"/>
              <a:gd name="connsiteX2" fmla="*/ 0 w 1040749"/>
              <a:gd name="connsiteY2" fmla="*/ 6858541 h 6858541"/>
              <a:gd name="connsiteX3" fmla="*/ 225 w 1040749"/>
              <a:gd name="connsiteY3" fmla="*/ 0 h 6858541"/>
              <a:gd name="connsiteX0" fmla="*/ 225 w 1040749"/>
              <a:gd name="connsiteY0" fmla="*/ 0 h 6835083"/>
              <a:gd name="connsiteX1" fmla="*/ 1040749 w 1040749"/>
              <a:gd name="connsiteY1" fmla="*/ 1762221 h 6835083"/>
              <a:gd name="connsiteX2" fmla="*/ 0 w 1040749"/>
              <a:gd name="connsiteY2" fmla="*/ 6835083 h 6835083"/>
              <a:gd name="connsiteX3" fmla="*/ 225 w 1040749"/>
              <a:gd name="connsiteY3" fmla="*/ 0 h 683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0749" h="6835083">
                <a:moveTo>
                  <a:pt x="225" y="0"/>
                </a:moveTo>
                <a:lnTo>
                  <a:pt x="1040749" y="1762221"/>
                </a:lnTo>
                <a:lnTo>
                  <a:pt x="0" y="6835083"/>
                </a:lnTo>
                <a:lnTo>
                  <a:pt x="225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1" name="Freeform 14">
            <a:extLst>
              <a:ext uri="{FF2B5EF4-FFF2-40B4-BE49-F238E27FC236}">
                <a16:creationId xmlns:a16="http://schemas.microsoft.com/office/drawing/2014/main" id="{689972AC-691D-4D9E-A951-543009639D12}"/>
              </a:ext>
            </a:extLst>
          </p:cNvPr>
          <p:cNvSpPr/>
          <p:nvPr userDrawn="1"/>
        </p:nvSpPr>
        <p:spPr>
          <a:xfrm>
            <a:off x="3119436" y="-1"/>
            <a:ext cx="3260163" cy="3022037"/>
          </a:xfrm>
          <a:custGeom>
            <a:avLst/>
            <a:gdLst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85737 w 3228975"/>
              <a:gd name="connsiteY3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1976437 w 3228975"/>
              <a:gd name="connsiteY3" fmla="*/ 1776413 h 3024188"/>
              <a:gd name="connsiteX4" fmla="*/ 185737 w 3228975"/>
              <a:gd name="connsiteY4" fmla="*/ 0 h 3024188"/>
              <a:gd name="connsiteX0" fmla="*/ 185737 w 3228975"/>
              <a:gd name="connsiteY0" fmla="*/ 0 h 3024188"/>
              <a:gd name="connsiteX1" fmla="*/ 0 w 3228975"/>
              <a:gd name="connsiteY1" fmla="*/ 1771650 h 3024188"/>
              <a:gd name="connsiteX2" fmla="*/ 3228975 w 3228975"/>
              <a:gd name="connsiteY2" fmla="*/ 3024188 h 3024188"/>
              <a:gd name="connsiteX3" fmla="*/ 2733674 w 3228975"/>
              <a:gd name="connsiteY3" fmla="*/ 1281113 h 3024188"/>
              <a:gd name="connsiteX4" fmla="*/ 185737 w 3228975"/>
              <a:gd name="connsiteY4" fmla="*/ 0 h 3024188"/>
              <a:gd name="connsiteX0" fmla="*/ 185737 w 3181350"/>
              <a:gd name="connsiteY0" fmla="*/ 0 h 2481263"/>
              <a:gd name="connsiteX1" fmla="*/ 0 w 3181350"/>
              <a:gd name="connsiteY1" fmla="*/ 1771650 h 2481263"/>
              <a:gd name="connsiteX2" fmla="*/ 3181350 w 3181350"/>
              <a:gd name="connsiteY2" fmla="*/ 2481263 h 2481263"/>
              <a:gd name="connsiteX3" fmla="*/ 2733674 w 3181350"/>
              <a:gd name="connsiteY3" fmla="*/ 1281113 h 2481263"/>
              <a:gd name="connsiteX4" fmla="*/ 185737 w 3181350"/>
              <a:gd name="connsiteY4" fmla="*/ 0 h 24812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1113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2733674 w 3214688"/>
              <a:gd name="connsiteY3" fmla="*/ 1285876 h 3014663"/>
              <a:gd name="connsiteX4" fmla="*/ 185737 w 3214688"/>
              <a:gd name="connsiteY4" fmla="*/ 0 h 3014663"/>
              <a:gd name="connsiteX0" fmla="*/ 185737 w 3214688"/>
              <a:gd name="connsiteY0" fmla="*/ 0 h 3014663"/>
              <a:gd name="connsiteX1" fmla="*/ 0 w 3214688"/>
              <a:gd name="connsiteY1" fmla="*/ 1771650 h 3014663"/>
              <a:gd name="connsiteX2" fmla="*/ 3214688 w 3214688"/>
              <a:gd name="connsiteY2" fmla="*/ 3014663 h 3014663"/>
              <a:gd name="connsiteX3" fmla="*/ 185737 w 3214688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81175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190500 w 3219451"/>
              <a:gd name="connsiteY0" fmla="*/ 0 h 3014663"/>
              <a:gd name="connsiteX1" fmla="*/ 0 w 3219451"/>
              <a:gd name="connsiteY1" fmla="*/ 1766887 h 3014663"/>
              <a:gd name="connsiteX2" fmla="*/ 3219451 w 3219451"/>
              <a:gd name="connsiteY2" fmla="*/ 3014663 h 3014663"/>
              <a:gd name="connsiteX3" fmla="*/ 190500 w 3219451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7165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14663"/>
              <a:gd name="connsiteX1" fmla="*/ 0 w 3252789"/>
              <a:gd name="connsiteY1" fmla="*/ 1790700 h 3014663"/>
              <a:gd name="connsiteX2" fmla="*/ 3252789 w 3252789"/>
              <a:gd name="connsiteY2" fmla="*/ 3014663 h 3014663"/>
              <a:gd name="connsiteX3" fmla="*/ 223838 w 3252789"/>
              <a:gd name="connsiteY3" fmla="*/ 0 h 3014663"/>
              <a:gd name="connsiteX0" fmla="*/ 223838 w 3252789"/>
              <a:gd name="connsiteY0" fmla="*/ 0 h 3022037"/>
              <a:gd name="connsiteX1" fmla="*/ 0 w 3252789"/>
              <a:gd name="connsiteY1" fmla="*/ 1790700 h 3022037"/>
              <a:gd name="connsiteX2" fmla="*/ 3252789 w 3252789"/>
              <a:gd name="connsiteY2" fmla="*/ 3022037 h 3022037"/>
              <a:gd name="connsiteX3" fmla="*/ 223838 w 3252789"/>
              <a:gd name="connsiteY3" fmla="*/ 0 h 3022037"/>
              <a:gd name="connsiteX0" fmla="*/ 223838 w 3260163"/>
              <a:gd name="connsiteY0" fmla="*/ 0 h 3014663"/>
              <a:gd name="connsiteX1" fmla="*/ 0 w 3260163"/>
              <a:gd name="connsiteY1" fmla="*/ 1790700 h 3014663"/>
              <a:gd name="connsiteX2" fmla="*/ 3260163 w 3260163"/>
              <a:gd name="connsiteY2" fmla="*/ 3014663 h 3014663"/>
              <a:gd name="connsiteX3" fmla="*/ 223838 w 3260163"/>
              <a:gd name="connsiteY3" fmla="*/ 0 h 3014663"/>
              <a:gd name="connsiteX0" fmla="*/ 223838 w 3260163"/>
              <a:gd name="connsiteY0" fmla="*/ 0 h 3022037"/>
              <a:gd name="connsiteX1" fmla="*/ 0 w 3260163"/>
              <a:gd name="connsiteY1" fmla="*/ 1790700 h 3022037"/>
              <a:gd name="connsiteX2" fmla="*/ 3260163 w 3260163"/>
              <a:gd name="connsiteY2" fmla="*/ 3022037 h 3022037"/>
              <a:gd name="connsiteX3" fmla="*/ 223838 w 3260163"/>
              <a:gd name="connsiteY3" fmla="*/ 0 h 3022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60163" h="3022037">
                <a:moveTo>
                  <a:pt x="223838" y="0"/>
                </a:moveTo>
                <a:lnTo>
                  <a:pt x="0" y="1790700"/>
                </a:lnTo>
                <a:lnTo>
                  <a:pt x="3260163" y="3022037"/>
                </a:lnTo>
                <a:lnTo>
                  <a:pt x="223838" y="0"/>
                </a:lnTo>
                <a:close/>
              </a:path>
            </a:pathLst>
          </a:custGeom>
          <a:gradFill>
            <a:gsLst>
              <a:gs pos="58000">
                <a:schemeClr val="accent2"/>
              </a:gs>
              <a:gs pos="0">
                <a:schemeClr val="accent1"/>
              </a:gs>
            </a:gsLst>
            <a:lin ang="21594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2" name="Freeform 15">
            <a:extLst>
              <a:ext uri="{FF2B5EF4-FFF2-40B4-BE49-F238E27FC236}">
                <a16:creationId xmlns:a16="http://schemas.microsoft.com/office/drawing/2014/main" id="{29215CAF-AE99-44F2-B129-6AFBB24C8735}"/>
              </a:ext>
            </a:extLst>
          </p:cNvPr>
          <p:cNvSpPr/>
          <p:nvPr userDrawn="1"/>
        </p:nvSpPr>
        <p:spPr>
          <a:xfrm>
            <a:off x="3343275" y="0"/>
            <a:ext cx="4337998" cy="3019426"/>
          </a:xfrm>
          <a:custGeom>
            <a:avLst/>
            <a:gdLst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24350"/>
              <a:gd name="connsiteY0" fmla="*/ 0 h 3019426"/>
              <a:gd name="connsiteX1" fmla="*/ 4324350 w 4324350"/>
              <a:gd name="connsiteY1" fmla="*/ 1214438 h 3019426"/>
              <a:gd name="connsiteX2" fmla="*/ 3028950 w 4324350"/>
              <a:gd name="connsiteY2" fmla="*/ 3019426 h 3019426"/>
              <a:gd name="connsiteX3" fmla="*/ 0 w 4324350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28950 w 4337998"/>
              <a:gd name="connsiteY2" fmla="*/ 3019426 h 3019426"/>
              <a:gd name="connsiteX3" fmla="*/ 0 w 4337998"/>
              <a:gd name="connsiteY3" fmla="*/ 0 h 3019426"/>
              <a:gd name="connsiteX0" fmla="*/ 0 w 4337998"/>
              <a:gd name="connsiteY0" fmla="*/ 0 h 3019426"/>
              <a:gd name="connsiteX1" fmla="*/ 4337998 w 4337998"/>
              <a:gd name="connsiteY1" fmla="*/ 1214438 h 3019426"/>
              <a:gd name="connsiteX2" fmla="*/ 3015303 w 4337998"/>
              <a:gd name="connsiteY2" fmla="*/ 3019426 h 3019426"/>
              <a:gd name="connsiteX3" fmla="*/ 0 w 4337998"/>
              <a:gd name="connsiteY3" fmla="*/ 0 h 3019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7998" h="3019426">
                <a:moveTo>
                  <a:pt x="0" y="0"/>
                </a:moveTo>
                <a:lnTo>
                  <a:pt x="4337998" y="1214438"/>
                </a:lnTo>
                <a:lnTo>
                  <a:pt x="3015303" y="30194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">
                <a:schemeClr val="accent2"/>
              </a:gs>
              <a:gs pos="100000">
                <a:schemeClr val="accent1"/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en-US" sz="2000"/>
              <a:t>s</a:t>
            </a:r>
            <a:endParaRPr lang="en-US" sz="2000" dirty="0"/>
          </a:p>
        </p:txBody>
      </p:sp>
      <p:sp>
        <p:nvSpPr>
          <p:cNvPr id="53" name="Freeform 16">
            <a:extLst>
              <a:ext uri="{FF2B5EF4-FFF2-40B4-BE49-F238E27FC236}">
                <a16:creationId xmlns:a16="http://schemas.microsoft.com/office/drawing/2014/main" id="{BCD6455F-18DF-4DEA-86BD-88428229CB73}"/>
              </a:ext>
            </a:extLst>
          </p:cNvPr>
          <p:cNvSpPr/>
          <p:nvPr userDrawn="1"/>
        </p:nvSpPr>
        <p:spPr>
          <a:xfrm>
            <a:off x="7667625" y="1"/>
            <a:ext cx="4524375" cy="1214438"/>
          </a:xfrm>
          <a:custGeom>
            <a:avLst/>
            <a:gdLst>
              <a:gd name="connsiteX0" fmla="*/ 3367088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67088 w 4524375"/>
              <a:gd name="connsiteY3" fmla="*/ 0 h 1223963"/>
              <a:gd name="connsiteX0" fmla="*/ 3352800 w 4524375"/>
              <a:gd name="connsiteY0" fmla="*/ 0 h 1233489"/>
              <a:gd name="connsiteX1" fmla="*/ 0 w 4524375"/>
              <a:gd name="connsiteY1" fmla="*/ 1233489 h 1233489"/>
              <a:gd name="connsiteX2" fmla="*/ 4524375 w 4524375"/>
              <a:gd name="connsiteY2" fmla="*/ 1081089 h 1233489"/>
              <a:gd name="connsiteX3" fmla="*/ 3352800 w 4524375"/>
              <a:gd name="connsiteY3" fmla="*/ 0 h 1233489"/>
              <a:gd name="connsiteX0" fmla="*/ 3352800 w 4524375"/>
              <a:gd name="connsiteY0" fmla="*/ 0 h 1228726"/>
              <a:gd name="connsiteX1" fmla="*/ 0 w 4524375"/>
              <a:gd name="connsiteY1" fmla="*/ 1228726 h 1228726"/>
              <a:gd name="connsiteX2" fmla="*/ 4524375 w 4524375"/>
              <a:gd name="connsiteY2" fmla="*/ 1076326 h 1228726"/>
              <a:gd name="connsiteX3" fmla="*/ 3352800 w 4524375"/>
              <a:gd name="connsiteY3" fmla="*/ 0 h 1228726"/>
              <a:gd name="connsiteX0" fmla="*/ 3357563 w 4524375"/>
              <a:gd name="connsiteY0" fmla="*/ 0 h 1223963"/>
              <a:gd name="connsiteX1" fmla="*/ 0 w 4524375"/>
              <a:gd name="connsiteY1" fmla="*/ 1223963 h 1223963"/>
              <a:gd name="connsiteX2" fmla="*/ 4524375 w 4524375"/>
              <a:gd name="connsiteY2" fmla="*/ 1071563 h 1223963"/>
              <a:gd name="connsiteX3" fmla="*/ 3357563 w 4524375"/>
              <a:gd name="connsiteY3" fmla="*/ 0 h 1223963"/>
              <a:gd name="connsiteX0" fmla="*/ 3371851 w 4538663"/>
              <a:gd name="connsiteY0" fmla="*/ 0 h 1219200"/>
              <a:gd name="connsiteX1" fmla="*/ 0 w 4538663"/>
              <a:gd name="connsiteY1" fmla="*/ 1219200 h 1219200"/>
              <a:gd name="connsiteX2" fmla="*/ 4538663 w 4538663"/>
              <a:gd name="connsiteY2" fmla="*/ 1071563 h 1219200"/>
              <a:gd name="connsiteX3" fmla="*/ 3371851 w 4538663"/>
              <a:gd name="connsiteY3" fmla="*/ 0 h 1219200"/>
              <a:gd name="connsiteX0" fmla="*/ 3243264 w 4410076"/>
              <a:gd name="connsiteY0" fmla="*/ 0 h 1071563"/>
              <a:gd name="connsiteX1" fmla="*/ 0 w 4410076"/>
              <a:gd name="connsiteY1" fmla="*/ 1033463 h 1071563"/>
              <a:gd name="connsiteX2" fmla="*/ 4410076 w 4410076"/>
              <a:gd name="connsiteY2" fmla="*/ 1071563 h 1071563"/>
              <a:gd name="connsiteX3" fmla="*/ 3243264 w 4410076"/>
              <a:gd name="connsiteY3" fmla="*/ 0 h 1071563"/>
              <a:gd name="connsiteX0" fmla="*/ 3352801 w 4519613"/>
              <a:gd name="connsiteY0" fmla="*/ 0 h 1214438"/>
              <a:gd name="connsiteX1" fmla="*/ 0 w 4519613"/>
              <a:gd name="connsiteY1" fmla="*/ 1214438 h 1214438"/>
              <a:gd name="connsiteX2" fmla="*/ 4519613 w 4519613"/>
              <a:gd name="connsiteY2" fmla="*/ 1071563 h 1214438"/>
              <a:gd name="connsiteX3" fmla="*/ 3352801 w 4519613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71563 h 1214438"/>
              <a:gd name="connsiteX3" fmla="*/ 3352801 w 4533261"/>
              <a:gd name="connsiteY3" fmla="*/ 0 h 1214438"/>
              <a:gd name="connsiteX0" fmla="*/ 3352801 w 4533261"/>
              <a:gd name="connsiteY0" fmla="*/ 0 h 1214438"/>
              <a:gd name="connsiteX1" fmla="*/ 0 w 4533261"/>
              <a:gd name="connsiteY1" fmla="*/ 1214438 h 1214438"/>
              <a:gd name="connsiteX2" fmla="*/ 4533261 w 4533261"/>
              <a:gd name="connsiteY2" fmla="*/ 1098859 h 1214438"/>
              <a:gd name="connsiteX3" fmla="*/ 3352801 w 4533261"/>
              <a:gd name="connsiteY3" fmla="*/ 0 h 1214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3261" h="1214438">
                <a:moveTo>
                  <a:pt x="3352801" y="0"/>
                </a:moveTo>
                <a:lnTo>
                  <a:pt x="0" y="1214438"/>
                </a:lnTo>
                <a:lnTo>
                  <a:pt x="4533261" y="1098859"/>
                </a:lnTo>
                <a:lnTo>
                  <a:pt x="3352801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100000">
                <a:schemeClr val="accent1"/>
              </a:gs>
            </a:gsLst>
            <a:lin ang="10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4" name="Freeform 17">
            <a:extLst>
              <a:ext uri="{FF2B5EF4-FFF2-40B4-BE49-F238E27FC236}">
                <a16:creationId xmlns:a16="http://schemas.microsoft.com/office/drawing/2014/main" id="{632F9E7A-EE16-4D14-B87D-C46C9EA0ADC2}"/>
              </a:ext>
            </a:extLst>
          </p:cNvPr>
          <p:cNvSpPr/>
          <p:nvPr userDrawn="1"/>
        </p:nvSpPr>
        <p:spPr>
          <a:xfrm>
            <a:off x="11015664" y="1"/>
            <a:ext cx="1176841" cy="1098080"/>
          </a:xfrm>
          <a:custGeom>
            <a:avLst/>
            <a:gdLst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1575"/>
              <a:gd name="connsiteY0" fmla="*/ 0 h 1076325"/>
              <a:gd name="connsiteX1" fmla="*/ 1171575 w 1171575"/>
              <a:gd name="connsiteY1" fmla="*/ 1076325 h 1076325"/>
              <a:gd name="connsiteX2" fmla="*/ 1171575 w 1171575"/>
              <a:gd name="connsiteY2" fmla="*/ 0 h 1076325"/>
              <a:gd name="connsiteX3" fmla="*/ 0 w 1171575"/>
              <a:gd name="connsiteY3" fmla="*/ 0 h 1076325"/>
              <a:gd name="connsiteX0" fmla="*/ 0 w 1176299"/>
              <a:gd name="connsiteY0" fmla="*/ 0 h 1085850"/>
              <a:gd name="connsiteX1" fmla="*/ 1176299 w 1176299"/>
              <a:gd name="connsiteY1" fmla="*/ 1085850 h 1085850"/>
              <a:gd name="connsiteX2" fmla="*/ 1171575 w 1176299"/>
              <a:gd name="connsiteY2" fmla="*/ 0 h 1085850"/>
              <a:gd name="connsiteX3" fmla="*/ 0 w 1176299"/>
              <a:gd name="connsiteY3" fmla="*/ 0 h 1085850"/>
              <a:gd name="connsiteX0" fmla="*/ 0 w 1181344"/>
              <a:gd name="connsiteY0" fmla="*/ 0 h 1085850"/>
              <a:gd name="connsiteX1" fmla="*/ 1176299 w 1181344"/>
              <a:gd name="connsiteY1" fmla="*/ 1085850 h 1085850"/>
              <a:gd name="connsiteX2" fmla="*/ 1181138 w 1181344"/>
              <a:gd name="connsiteY2" fmla="*/ 0 h 1085850"/>
              <a:gd name="connsiteX3" fmla="*/ 0 w 1181344"/>
              <a:gd name="connsiteY3" fmla="*/ 0 h 1085850"/>
              <a:gd name="connsiteX0" fmla="*/ 0 w 1181586"/>
              <a:gd name="connsiteY0" fmla="*/ 0 h 1081088"/>
              <a:gd name="connsiteX1" fmla="*/ 1181080 w 1181586"/>
              <a:gd name="connsiteY1" fmla="*/ 1081088 h 1081088"/>
              <a:gd name="connsiteX2" fmla="*/ 1181138 w 1181586"/>
              <a:gd name="connsiteY2" fmla="*/ 0 h 1081088"/>
              <a:gd name="connsiteX3" fmla="*/ 0 w 1181586"/>
              <a:gd name="connsiteY3" fmla="*/ 0 h 1081088"/>
              <a:gd name="connsiteX0" fmla="*/ 0 w 1181586"/>
              <a:gd name="connsiteY0" fmla="*/ 0 h 1070785"/>
              <a:gd name="connsiteX1" fmla="*/ 1181080 w 1181586"/>
              <a:gd name="connsiteY1" fmla="*/ 1070785 h 1070785"/>
              <a:gd name="connsiteX2" fmla="*/ 1181138 w 1181586"/>
              <a:gd name="connsiteY2" fmla="*/ 0 h 1070785"/>
              <a:gd name="connsiteX3" fmla="*/ 0 w 1181586"/>
              <a:gd name="connsiteY3" fmla="*/ 0 h 1070785"/>
              <a:gd name="connsiteX0" fmla="*/ 0 w 1181152"/>
              <a:gd name="connsiteY0" fmla="*/ 0 h 593113"/>
              <a:gd name="connsiteX1" fmla="*/ 1057755 w 1181152"/>
              <a:gd name="connsiteY1" fmla="*/ 593113 h 593113"/>
              <a:gd name="connsiteX2" fmla="*/ 1181138 w 1181152"/>
              <a:gd name="connsiteY2" fmla="*/ 0 h 593113"/>
              <a:gd name="connsiteX3" fmla="*/ 0 w 1181152"/>
              <a:gd name="connsiteY3" fmla="*/ 0 h 593113"/>
              <a:gd name="connsiteX0" fmla="*/ 0 w 1181586"/>
              <a:gd name="connsiteY0" fmla="*/ 0 h 1098080"/>
              <a:gd name="connsiteX1" fmla="*/ 1181081 w 1181586"/>
              <a:gd name="connsiteY1" fmla="*/ 1098080 h 1098080"/>
              <a:gd name="connsiteX2" fmla="*/ 1181138 w 1181586"/>
              <a:gd name="connsiteY2" fmla="*/ 0 h 1098080"/>
              <a:gd name="connsiteX3" fmla="*/ 0 w 1181586"/>
              <a:gd name="connsiteY3" fmla="*/ 0 h 1098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81586" h="1098080">
                <a:moveTo>
                  <a:pt x="0" y="0"/>
                </a:moveTo>
                <a:lnTo>
                  <a:pt x="1181081" y="1098080"/>
                </a:lnTo>
                <a:cubicBezTo>
                  <a:pt x="1179506" y="736130"/>
                  <a:pt x="1182713" y="361950"/>
                  <a:pt x="1181138" y="0"/>
                </a:cubicBezTo>
                <a:lnTo>
                  <a:pt x="0" y="0"/>
                </a:lnTo>
                <a:close/>
              </a:path>
            </a:pathLst>
          </a:custGeom>
          <a:gradFill>
            <a:gsLst>
              <a:gs pos="23000">
                <a:schemeClr val="accent1"/>
              </a:gs>
              <a:gs pos="100000">
                <a:schemeClr val="accent2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5" name="Freeform 18">
            <a:extLst>
              <a:ext uri="{FF2B5EF4-FFF2-40B4-BE49-F238E27FC236}">
                <a16:creationId xmlns:a16="http://schemas.microsoft.com/office/drawing/2014/main" id="{10FA9D68-988D-49B7-8DEE-D695AB9E55A4}"/>
              </a:ext>
            </a:extLst>
          </p:cNvPr>
          <p:cNvSpPr/>
          <p:nvPr userDrawn="1"/>
        </p:nvSpPr>
        <p:spPr>
          <a:xfrm>
            <a:off x="10959906" y="1057275"/>
            <a:ext cx="1232552" cy="3276600"/>
          </a:xfrm>
          <a:custGeom>
            <a:avLst/>
            <a:gdLst>
              <a:gd name="connsiteX0" fmla="*/ 1171575 w 1176337"/>
              <a:gd name="connsiteY0" fmla="*/ 0 h 3267075"/>
              <a:gd name="connsiteX1" fmla="*/ 0 w 1176337"/>
              <a:gd name="connsiteY1" fmla="*/ 2762250 h 3267075"/>
              <a:gd name="connsiteX2" fmla="*/ 1176337 w 1176337"/>
              <a:gd name="connsiteY2" fmla="*/ 3267075 h 3267075"/>
              <a:gd name="connsiteX3" fmla="*/ 1171575 w 1176337"/>
              <a:gd name="connsiteY3" fmla="*/ 0 h 3267075"/>
              <a:gd name="connsiteX0" fmla="*/ 1176337 w 1176795"/>
              <a:gd name="connsiteY0" fmla="*/ 0 h 3276600"/>
              <a:gd name="connsiteX1" fmla="*/ 0 w 1176795"/>
              <a:gd name="connsiteY1" fmla="*/ 2771775 h 3276600"/>
              <a:gd name="connsiteX2" fmla="*/ 1176337 w 1176795"/>
              <a:gd name="connsiteY2" fmla="*/ 3276600 h 3276600"/>
              <a:gd name="connsiteX3" fmla="*/ 1176337 w 1176795"/>
              <a:gd name="connsiteY3" fmla="*/ 0 h 3276600"/>
              <a:gd name="connsiteX0" fmla="*/ 1209791 w 1210249"/>
              <a:gd name="connsiteY0" fmla="*/ 0 h 3276600"/>
              <a:gd name="connsiteX1" fmla="*/ 0 w 1210249"/>
              <a:gd name="connsiteY1" fmla="*/ 2771775 h 3276600"/>
              <a:gd name="connsiteX2" fmla="*/ 1209791 w 1210249"/>
              <a:gd name="connsiteY2" fmla="*/ 3276600 h 3276600"/>
              <a:gd name="connsiteX3" fmla="*/ 1209791 w 1210249"/>
              <a:gd name="connsiteY3" fmla="*/ 0 h 3276600"/>
              <a:gd name="connsiteX0" fmla="*/ 1232094 w 1232552"/>
              <a:gd name="connsiteY0" fmla="*/ 0 h 3276600"/>
              <a:gd name="connsiteX1" fmla="*/ 0 w 1232552"/>
              <a:gd name="connsiteY1" fmla="*/ 2749472 h 3276600"/>
              <a:gd name="connsiteX2" fmla="*/ 1232094 w 1232552"/>
              <a:gd name="connsiteY2" fmla="*/ 3276600 h 3276600"/>
              <a:gd name="connsiteX3" fmla="*/ 1232094 w 1232552"/>
              <a:gd name="connsiteY3" fmla="*/ 0 h 327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32552" h="3276600">
                <a:moveTo>
                  <a:pt x="1232094" y="0"/>
                </a:moveTo>
                <a:lnTo>
                  <a:pt x="0" y="2749472"/>
                </a:lnTo>
                <a:lnTo>
                  <a:pt x="1232094" y="3276600"/>
                </a:lnTo>
                <a:cubicBezTo>
                  <a:pt x="1230507" y="2187575"/>
                  <a:pt x="1233681" y="1089025"/>
                  <a:pt x="1232094" y="0"/>
                </a:cubicBez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6" name="Freeform 19">
            <a:extLst>
              <a:ext uri="{FF2B5EF4-FFF2-40B4-BE49-F238E27FC236}">
                <a16:creationId xmlns:a16="http://schemas.microsoft.com/office/drawing/2014/main" id="{7F0FBD88-B12E-4D37-9D79-E4F4281AD5E2}"/>
              </a:ext>
            </a:extLst>
          </p:cNvPr>
          <p:cNvSpPr/>
          <p:nvPr userDrawn="1"/>
        </p:nvSpPr>
        <p:spPr>
          <a:xfrm>
            <a:off x="6366969" y="2428875"/>
            <a:ext cx="3339005" cy="2271713"/>
          </a:xfrm>
          <a:custGeom>
            <a:avLst/>
            <a:gdLst>
              <a:gd name="connsiteX0" fmla="*/ 0 w 3324225"/>
              <a:gd name="connsiteY0" fmla="*/ 590550 h 2271713"/>
              <a:gd name="connsiteX1" fmla="*/ 1343025 w 3324225"/>
              <a:gd name="connsiteY1" fmla="*/ 2271713 h 2271713"/>
              <a:gd name="connsiteX2" fmla="*/ 3324225 w 3324225"/>
              <a:gd name="connsiteY2" fmla="*/ 0 h 2271713"/>
              <a:gd name="connsiteX3" fmla="*/ 0 w 3324225"/>
              <a:gd name="connsiteY3" fmla="*/ 590550 h 2271713"/>
              <a:gd name="connsiteX0" fmla="*/ 0 w 3333750"/>
              <a:gd name="connsiteY0" fmla="*/ 585787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85787 h 2271713"/>
              <a:gd name="connsiteX0" fmla="*/ 0 w 3333750"/>
              <a:gd name="connsiteY0" fmla="*/ 591043 h 2271713"/>
              <a:gd name="connsiteX1" fmla="*/ 1352550 w 3333750"/>
              <a:gd name="connsiteY1" fmla="*/ 2271713 h 2271713"/>
              <a:gd name="connsiteX2" fmla="*/ 3333750 w 3333750"/>
              <a:gd name="connsiteY2" fmla="*/ 0 h 2271713"/>
              <a:gd name="connsiteX3" fmla="*/ 0 w 3333750"/>
              <a:gd name="connsiteY3" fmla="*/ 591043 h 2271713"/>
              <a:gd name="connsiteX0" fmla="*/ 0 w 3339005"/>
              <a:gd name="connsiteY0" fmla="*/ 591043 h 2271713"/>
              <a:gd name="connsiteX1" fmla="*/ 1357805 w 3339005"/>
              <a:gd name="connsiteY1" fmla="*/ 2271713 h 2271713"/>
              <a:gd name="connsiteX2" fmla="*/ 3339005 w 3339005"/>
              <a:gd name="connsiteY2" fmla="*/ 0 h 2271713"/>
              <a:gd name="connsiteX3" fmla="*/ 0 w 3339005"/>
              <a:gd name="connsiteY3" fmla="*/ 591043 h 2271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39005" h="2271713">
                <a:moveTo>
                  <a:pt x="0" y="591043"/>
                </a:moveTo>
                <a:lnTo>
                  <a:pt x="1357805" y="2271713"/>
                </a:lnTo>
                <a:lnTo>
                  <a:pt x="3339005" y="0"/>
                </a:lnTo>
                <a:lnTo>
                  <a:pt x="0" y="591043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87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7" name="Freeform 20">
            <a:extLst>
              <a:ext uri="{FF2B5EF4-FFF2-40B4-BE49-F238E27FC236}">
                <a16:creationId xmlns:a16="http://schemas.microsoft.com/office/drawing/2014/main" id="{3CC05558-4AE9-4E14-86EE-EC88DB9F2E93}"/>
              </a:ext>
            </a:extLst>
          </p:cNvPr>
          <p:cNvSpPr/>
          <p:nvPr userDrawn="1"/>
        </p:nvSpPr>
        <p:spPr>
          <a:xfrm>
            <a:off x="1025774" y="1761707"/>
            <a:ext cx="2098477" cy="1910094"/>
          </a:xfrm>
          <a:custGeom>
            <a:avLst/>
            <a:gdLst>
              <a:gd name="connsiteX0" fmla="*/ 2086304 w 2086304"/>
              <a:gd name="connsiteY0" fmla="*/ 0 h 1886607"/>
              <a:gd name="connsiteX1" fmla="*/ 0 w 2086304"/>
              <a:gd name="connsiteY1" fmla="*/ 15765 h 1886607"/>
              <a:gd name="connsiteX2" fmla="*/ 362607 w 2086304"/>
              <a:gd name="connsiteY2" fmla="*/ 1886607 h 1886607"/>
              <a:gd name="connsiteX3" fmla="*/ 2086304 w 2086304"/>
              <a:gd name="connsiteY3" fmla="*/ 0 h 1886607"/>
              <a:gd name="connsiteX0" fmla="*/ 2101053 w 2101053"/>
              <a:gd name="connsiteY0" fmla="*/ 0 h 1886607"/>
              <a:gd name="connsiteX1" fmla="*/ 0 w 2101053"/>
              <a:gd name="connsiteY1" fmla="*/ 1207 h 1886607"/>
              <a:gd name="connsiteX2" fmla="*/ 377356 w 2101053"/>
              <a:gd name="connsiteY2" fmla="*/ 1886607 h 1886607"/>
              <a:gd name="connsiteX3" fmla="*/ 2101053 w 2101053"/>
              <a:gd name="connsiteY3" fmla="*/ 0 h 1886607"/>
              <a:gd name="connsiteX0" fmla="*/ 2098477 w 2098477"/>
              <a:gd name="connsiteY0" fmla="*/ 8963 h 1885400"/>
              <a:gd name="connsiteX1" fmla="*/ 0 w 2098477"/>
              <a:gd name="connsiteY1" fmla="*/ 0 h 1885400"/>
              <a:gd name="connsiteX2" fmla="*/ 377356 w 2098477"/>
              <a:gd name="connsiteY2" fmla="*/ 1885400 h 1885400"/>
              <a:gd name="connsiteX3" fmla="*/ 2098477 w 2098477"/>
              <a:gd name="connsiteY3" fmla="*/ 8963 h 188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8477" h="1885400">
                <a:moveTo>
                  <a:pt x="2098477" y="8963"/>
                </a:moveTo>
                <a:lnTo>
                  <a:pt x="0" y="0"/>
                </a:lnTo>
                <a:lnTo>
                  <a:pt x="377356" y="1885400"/>
                </a:lnTo>
                <a:lnTo>
                  <a:pt x="2098477" y="8963"/>
                </a:lnTo>
                <a:close/>
              </a:path>
            </a:pathLst>
          </a:custGeom>
          <a:gradFill>
            <a:gsLst>
              <a:gs pos="8000">
                <a:schemeClr val="accent2"/>
              </a:gs>
              <a:gs pos="90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8" name="Freeform 21">
            <a:extLst>
              <a:ext uri="{FF2B5EF4-FFF2-40B4-BE49-F238E27FC236}">
                <a16:creationId xmlns:a16="http://schemas.microsoft.com/office/drawing/2014/main" id="{D557D87B-10A1-49E8-BA84-9A1AACF91CA8}"/>
              </a:ext>
            </a:extLst>
          </p:cNvPr>
          <p:cNvSpPr/>
          <p:nvPr userDrawn="1"/>
        </p:nvSpPr>
        <p:spPr>
          <a:xfrm>
            <a:off x="3532" y="4857972"/>
            <a:ext cx="4090198" cy="2007612"/>
          </a:xfrm>
          <a:custGeom>
            <a:avLst/>
            <a:gdLst>
              <a:gd name="connsiteX0" fmla="*/ 3576398 w 4077729"/>
              <a:gd name="connsiteY0" fmla="*/ 0 h 1994733"/>
              <a:gd name="connsiteX1" fmla="*/ 4077729 w 4077729"/>
              <a:gd name="connsiteY1" fmla="*/ 1101516 h 1994733"/>
              <a:gd name="connsiteX2" fmla="*/ 0 w 4077729"/>
              <a:gd name="connsiteY2" fmla="*/ 1994733 h 1994733"/>
              <a:gd name="connsiteX3" fmla="*/ 3576398 w 4077729"/>
              <a:gd name="connsiteY3" fmla="*/ 0 h 1994733"/>
              <a:gd name="connsiteX0" fmla="*/ 3576398 w 4086042"/>
              <a:gd name="connsiteY0" fmla="*/ 0 h 1994733"/>
              <a:gd name="connsiteX1" fmla="*/ 4086042 w 4086042"/>
              <a:gd name="connsiteY1" fmla="*/ 1093204 h 1994733"/>
              <a:gd name="connsiteX2" fmla="*/ 0 w 4086042"/>
              <a:gd name="connsiteY2" fmla="*/ 1994733 h 1994733"/>
              <a:gd name="connsiteX3" fmla="*/ 3576398 w 4086042"/>
              <a:gd name="connsiteY3" fmla="*/ 0 h 1994733"/>
              <a:gd name="connsiteX0" fmla="*/ 3576398 w 4090198"/>
              <a:gd name="connsiteY0" fmla="*/ 0 h 1994733"/>
              <a:gd name="connsiteX1" fmla="*/ 4090198 w 4090198"/>
              <a:gd name="connsiteY1" fmla="*/ 1084892 h 1994733"/>
              <a:gd name="connsiteX2" fmla="*/ 0 w 4090198"/>
              <a:gd name="connsiteY2" fmla="*/ 1994733 h 1994733"/>
              <a:gd name="connsiteX3" fmla="*/ 3576398 w 4090198"/>
              <a:gd name="connsiteY3" fmla="*/ 0 h 1994733"/>
              <a:gd name="connsiteX0" fmla="*/ 3576398 w 4090198"/>
              <a:gd name="connsiteY0" fmla="*/ 0 h 2007612"/>
              <a:gd name="connsiteX1" fmla="*/ 4090198 w 4090198"/>
              <a:gd name="connsiteY1" fmla="*/ 1084892 h 2007612"/>
              <a:gd name="connsiteX2" fmla="*/ 0 w 4090198"/>
              <a:gd name="connsiteY2" fmla="*/ 2007612 h 2007612"/>
              <a:gd name="connsiteX3" fmla="*/ 3576398 w 4090198"/>
              <a:gd name="connsiteY3" fmla="*/ 0 h 2007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0198" h="2007612">
                <a:moveTo>
                  <a:pt x="3576398" y="0"/>
                </a:moveTo>
                <a:lnTo>
                  <a:pt x="4090198" y="1084892"/>
                </a:lnTo>
                <a:lnTo>
                  <a:pt x="0" y="2007612"/>
                </a:lnTo>
                <a:lnTo>
                  <a:pt x="3576398" y="0"/>
                </a:lnTo>
                <a:close/>
              </a:path>
            </a:pathLst>
          </a:custGeo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59" name="Freeform 22">
            <a:extLst>
              <a:ext uri="{FF2B5EF4-FFF2-40B4-BE49-F238E27FC236}">
                <a16:creationId xmlns:a16="http://schemas.microsoft.com/office/drawing/2014/main" id="{2D2C2567-47FC-4AD3-B234-DAF78BBD5B79}"/>
              </a:ext>
            </a:extLst>
          </p:cNvPr>
          <p:cNvSpPr/>
          <p:nvPr userDrawn="1"/>
        </p:nvSpPr>
        <p:spPr>
          <a:xfrm>
            <a:off x="-6301" y="5938309"/>
            <a:ext cx="4092304" cy="924304"/>
          </a:xfrm>
          <a:custGeom>
            <a:avLst/>
            <a:gdLst>
              <a:gd name="connsiteX0" fmla="*/ 4074199 w 4074199"/>
              <a:gd name="connsiteY0" fmla="*/ 0 h 907339"/>
              <a:gd name="connsiteX1" fmla="*/ 3357507 w 4074199"/>
              <a:gd name="connsiteY1" fmla="*/ 907339 h 907339"/>
              <a:gd name="connsiteX2" fmla="*/ 0 w 4074199"/>
              <a:gd name="connsiteY2" fmla="*/ 907339 h 907339"/>
              <a:gd name="connsiteX3" fmla="*/ 4074199 w 4074199"/>
              <a:gd name="connsiteY3" fmla="*/ 0 h 907339"/>
              <a:gd name="connsiteX0" fmla="*/ 4084791 w 4084791"/>
              <a:gd name="connsiteY0" fmla="*/ 0 h 907339"/>
              <a:gd name="connsiteX1" fmla="*/ 3368099 w 4084791"/>
              <a:gd name="connsiteY1" fmla="*/ 907339 h 907339"/>
              <a:gd name="connsiteX2" fmla="*/ 0 w 4084791"/>
              <a:gd name="connsiteY2" fmla="*/ 907339 h 907339"/>
              <a:gd name="connsiteX3" fmla="*/ 4084791 w 4084791"/>
              <a:gd name="connsiteY3" fmla="*/ 0 h 907339"/>
              <a:gd name="connsiteX0" fmla="*/ 4100031 w 4100031"/>
              <a:gd name="connsiteY0" fmla="*/ 0 h 907339"/>
              <a:gd name="connsiteX1" fmla="*/ 3368099 w 4100031"/>
              <a:gd name="connsiteY1" fmla="*/ 907339 h 907339"/>
              <a:gd name="connsiteX2" fmla="*/ 0 w 4100031"/>
              <a:gd name="connsiteY2" fmla="*/ 907339 h 907339"/>
              <a:gd name="connsiteX3" fmla="*/ 4100031 w 4100031"/>
              <a:gd name="connsiteY3" fmla="*/ 0 h 907339"/>
              <a:gd name="connsiteX0" fmla="*/ 4102607 w 4102607"/>
              <a:gd name="connsiteY0" fmla="*/ 0 h 907339"/>
              <a:gd name="connsiteX1" fmla="*/ 3370675 w 4102607"/>
              <a:gd name="connsiteY1" fmla="*/ 907339 h 907339"/>
              <a:gd name="connsiteX2" fmla="*/ 0 w 4102607"/>
              <a:gd name="connsiteY2" fmla="*/ 857464 h 907339"/>
              <a:gd name="connsiteX3" fmla="*/ 4102607 w 4102607"/>
              <a:gd name="connsiteY3" fmla="*/ 0 h 907339"/>
              <a:gd name="connsiteX0" fmla="*/ 4097455 w 4097455"/>
              <a:gd name="connsiteY0" fmla="*/ 0 h 907339"/>
              <a:gd name="connsiteX1" fmla="*/ 3365523 w 4097455"/>
              <a:gd name="connsiteY1" fmla="*/ 907339 h 907339"/>
              <a:gd name="connsiteX2" fmla="*/ 0 w 4097455"/>
              <a:gd name="connsiteY2" fmla="*/ 859958 h 907339"/>
              <a:gd name="connsiteX3" fmla="*/ 4097455 w 4097455"/>
              <a:gd name="connsiteY3" fmla="*/ 0 h 907339"/>
              <a:gd name="connsiteX0" fmla="*/ 4097455 w 4097455"/>
              <a:gd name="connsiteY0" fmla="*/ 0 h 862451"/>
              <a:gd name="connsiteX1" fmla="*/ 3411887 w 4097455"/>
              <a:gd name="connsiteY1" fmla="*/ 862451 h 862451"/>
              <a:gd name="connsiteX2" fmla="*/ 0 w 4097455"/>
              <a:gd name="connsiteY2" fmla="*/ 859958 h 862451"/>
              <a:gd name="connsiteX3" fmla="*/ 4097455 w 4097455"/>
              <a:gd name="connsiteY3" fmla="*/ 0 h 862451"/>
              <a:gd name="connsiteX0" fmla="*/ 4089728 w 4089728"/>
              <a:gd name="connsiteY0" fmla="*/ 0 h 892377"/>
              <a:gd name="connsiteX1" fmla="*/ 3411887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92377"/>
              <a:gd name="connsiteX1" fmla="*/ 3424766 w 4089728"/>
              <a:gd name="connsiteY1" fmla="*/ 892377 h 892377"/>
              <a:gd name="connsiteX2" fmla="*/ 0 w 4089728"/>
              <a:gd name="connsiteY2" fmla="*/ 889884 h 892377"/>
              <a:gd name="connsiteX3" fmla="*/ 4089728 w 4089728"/>
              <a:gd name="connsiteY3" fmla="*/ 0 h 892377"/>
              <a:gd name="connsiteX0" fmla="*/ 4089728 w 4089728"/>
              <a:gd name="connsiteY0" fmla="*/ 0 h 889884"/>
              <a:gd name="connsiteX1" fmla="*/ 3360372 w 4089728"/>
              <a:gd name="connsiteY1" fmla="*/ 889884 h 889884"/>
              <a:gd name="connsiteX2" fmla="*/ 0 w 4089728"/>
              <a:gd name="connsiteY2" fmla="*/ 889884 h 889884"/>
              <a:gd name="connsiteX3" fmla="*/ 4089728 w 4089728"/>
              <a:gd name="connsiteY3" fmla="*/ 0 h 889884"/>
              <a:gd name="connsiteX0" fmla="*/ 4079425 w 4079425"/>
              <a:gd name="connsiteY0" fmla="*/ 0 h 889884"/>
              <a:gd name="connsiteX1" fmla="*/ 3350069 w 4079425"/>
              <a:gd name="connsiteY1" fmla="*/ 889884 h 889884"/>
              <a:gd name="connsiteX2" fmla="*/ 0 w 4079425"/>
              <a:gd name="connsiteY2" fmla="*/ 882403 h 889884"/>
              <a:gd name="connsiteX3" fmla="*/ 4079425 w 4079425"/>
              <a:gd name="connsiteY3" fmla="*/ 0 h 889884"/>
              <a:gd name="connsiteX0" fmla="*/ 4082000 w 4082000"/>
              <a:gd name="connsiteY0" fmla="*/ 0 h 889884"/>
              <a:gd name="connsiteX1" fmla="*/ 3352644 w 4082000"/>
              <a:gd name="connsiteY1" fmla="*/ 889884 h 889884"/>
              <a:gd name="connsiteX2" fmla="*/ 0 w 4082000"/>
              <a:gd name="connsiteY2" fmla="*/ 882403 h 889884"/>
              <a:gd name="connsiteX3" fmla="*/ 4082000 w 4082000"/>
              <a:gd name="connsiteY3" fmla="*/ 0 h 889884"/>
              <a:gd name="connsiteX0" fmla="*/ 4087152 w 4087152"/>
              <a:gd name="connsiteY0" fmla="*/ 0 h 1007091"/>
              <a:gd name="connsiteX1" fmla="*/ 3357796 w 4087152"/>
              <a:gd name="connsiteY1" fmla="*/ 889884 h 1007091"/>
              <a:gd name="connsiteX2" fmla="*/ 0 w 4087152"/>
              <a:gd name="connsiteY2" fmla="*/ 1007091 h 1007091"/>
              <a:gd name="connsiteX3" fmla="*/ 4087152 w 4087152"/>
              <a:gd name="connsiteY3" fmla="*/ 0 h 1007091"/>
              <a:gd name="connsiteX0" fmla="*/ 4092304 w 4092304"/>
              <a:gd name="connsiteY0" fmla="*/ 0 h 894872"/>
              <a:gd name="connsiteX1" fmla="*/ 3362948 w 4092304"/>
              <a:gd name="connsiteY1" fmla="*/ 889884 h 894872"/>
              <a:gd name="connsiteX2" fmla="*/ 0 w 4092304"/>
              <a:gd name="connsiteY2" fmla="*/ 894872 h 894872"/>
              <a:gd name="connsiteX3" fmla="*/ 4092304 w 4092304"/>
              <a:gd name="connsiteY3" fmla="*/ 0 h 894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92304" h="894872">
                <a:moveTo>
                  <a:pt x="4092304" y="0"/>
                </a:moveTo>
                <a:lnTo>
                  <a:pt x="3362948" y="889884"/>
                </a:lnTo>
                <a:lnTo>
                  <a:pt x="0" y="894872"/>
                </a:lnTo>
                <a:lnTo>
                  <a:pt x="4092304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0" name="Freeform 23">
            <a:extLst>
              <a:ext uri="{FF2B5EF4-FFF2-40B4-BE49-F238E27FC236}">
                <a16:creationId xmlns:a16="http://schemas.microsoft.com/office/drawing/2014/main" id="{79B2118E-BB71-4D0E-8A9D-6EE887B95CBB}"/>
              </a:ext>
            </a:extLst>
          </p:cNvPr>
          <p:cNvSpPr/>
          <p:nvPr userDrawn="1"/>
        </p:nvSpPr>
        <p:spPr>
          <a:xfrm>
            <a:off x="4102443" y="4914459"/>
            <a:ext cx="547228" cy="151811"/>
          </a:xfrm>
          <a:custGeom>
            <a:avLst/>
            <a:gdLst>
              <a:gd name="connsiteX0" fmla="*/ 0 w 547228"/>
              <a:gd name="connsiteY0" fmla="*/ 0 h 151811"/>
              <a:gd name="connsiteX1" fmla="*/ 547228 w 547228"/>
              <a:gd name="connsiteY1" fmla="*/ 70610 h 151811"/>
              <a:gd name="connsiteX2" fmla="*/ 526045 w 547228"/>
              <a:gd name="connsiteY2" fmla="*/ 151811 h 151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7228" h="151811">
                <a:moveTo>
                  <a:pt x="0" y="0"/>
                </a:moveTo>
                <a:lnTo>
                  <a:pt x="547228" y="70610"/>
                </a:lnTo>
                <a:lnTo>
                  <a:pt x="526045" y="151811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reeform 24">
            <a:extLst>
              <a:ext uri="{FF2B5EF4-FFF2-40B4-BE49-F238E27FC236}">
                <a16:creationId xmlns:a16="http://schemas.microsoft.com/office/drawing/2014/main" id="{25D13AFA-1C14-4F64-B213-2DB5B3ACE1C1}"/>
              </a:ext>
            </a:extLst>
          </p:cNvPr>
          <p:cNvSpPr/>
          <p:nvPr userDrawn="1"/>
        </p:nvSpPr>
        <p:spPr>
          <a:xfrm>
            <a:off x="3317876" y="5936217"/>
            <a:ext cx="5416584" cy="930949"/>
          </a:xfrm>
          <a:custGeom>
            <a:avLst/>
            <a:gdLst>
              <a:gd name="connsiteX0" fmla="*/ 683287 w 5365819"/>
              <a:gd name="connsiteY0" fmla="*/ 0 h 914400"/>
              <a:gd name="connsiteX1" fmla="*/ 5365819 w 5365819"/>
              <a:gd name="connsiteY1" fmla="*/ 904351 h 914400"/>
              <a:gd name="connsiteX2" fmla="*/ 0 w 5365819"/>
              <a:gd name="connsiteY2" fmla="*/ 914400 h 914400"/>
              <a:gd name="connsiteX3" fmla="*/ 683287 w 5365819"/>
              <a:gd name="connsiteY3" fmla="*/ 0 h 914400"/>
              <a:gd name="connsiteX0" fmla="*/ 711531 w 5394063"/>
              <a:gd name="connsiteY0" fmla="*/ 0 h 917930"/>
              <a:gd name="connsiteX1" fmla="*/ 5394063 w 5394063"/>
              <a:gd name="connsiteY1" fmla="*/ 904351 h 917930"/>
              <a:gd name="connsiteX2" fmla="*/ 0 w 5394063"/>
              <a:gd name="connsiteY2" fmla="*/ 917930 h 917930"/>
              <a:gd name="connsiteX3" fmla="*/ 711531 w 5394063"/>
              <a:gd name="connsiteY3" fmla="*/ 0 h 917930"/>
              <a:gd name="connsiteX0" fmla="*/ 725653 w 5394063"/>
              <a:gd name="connsiteY0" fmla="*/ 0 h 910869"/>
              <a:gd name="connsiteX1" fmla="*/ 5394063 w 5394063"/>
              <a:gd name="connsiteY1" fmla="*/ 897290 h 910869"/>
              <a:gd name="connsiteX2" fmla="*/ 0 w 5394063"/>
              <a:gd name="connsiteY2" fmla="*/ 910869 h 910869"/>
              <a:gd name="connsiteX3" fmla="*/ 725653 w 5394063"/>
              <a:gd name="connsiteY3" fmla="*/ 0 h 910869"/>
              <a:gd name="connsiteX0" fmla="*/ 725653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5653 w 5376410"/>
              <a:gd name="connsiteY3" fmla="*/ 0 h 910869"/>
              <a:gd name="connsiteX0" fmla="*/ 783842 w 5376410"/>
              <a:gd name="connsiteY0" fmla="*/ 0 h 765396"/>
              <a:gd name="connsiteX1" fmla="*/ 5376410 w 5376410"/>
              <a:gd name="connsiteY1" fmla="*/ 762408 h 765396"/>
              <a:gd name="connsiteX2" fmla="*/ 0 w 5376410"/>
              <a:gd name="connsiteY2" fmla="*/ 765396 h 765396"/>
              <a:gd name="connsiteX3" fmla="*/ 783842 w 5376410"/>
              <a:gd name="connsiteY3" fmla="*/ 0 h 765396"/>
              <a:gd name="connsiteX0" fmla="*/ 729810 w 5376410"/>
              <a:gd name="connsiteY0" fmla="*/ 0 h 910869"/>
              <a:gd name="connsiteX1" fmla="*/ 5376410 w 5376410"/>
              <a:gd name="connsiteY1" fmla="*/ 907881 h 910869"/>
              <a:gd name="connsiteX2" fmla="*/ 0 w 5376410"/>
              <a:gd name="connsiteY2" fmla="*/ 910869 h 910869"/>
              <a:gd name="connsiteX3" fmla="*/ 729810 w 5376410"/>
              <a:gd name="connsiteY3" fmla="*/ 0 h 910869"/>
              <a:gd name="connsiteX0" fmla="*/ 71457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4570 w 5376410"/>
              <a:gd name="connsiteY3" fmla="*/ 0 h 918489"/>
              <a:gd name="connsiteX0" fmla="*/ 809820 w 5376410"/>
              <a:gd name="connsiteY0" fmla="*/ 0 h 758469"/>
              <a:gd name="connsiteX1" fmla="*/ 5376410 w 5376410"/>
              <a:gd name="connsiteY1" fmla="*/ 755481 h 758469"/>
              <a:gd name="connsiteX2" fmla="*/ 0 w 5376410"/>
              <a:gd name="connsiteY2" fmla="*/ 758469 h 758469"/>
              <a:gd name="connsiteX3" fmla="*/ 809820 w 5376410"/>
              <a:gd name="connsiteY3" fmla="*/ 0 h 758469"/>
              <a:gd name="connsiteX0" fmla="*/ 710760 w 5376410"/>
              <a:gd name="connsiteY0" fmla="*/ 0 h 918489"/>
              <a:gd name="connsiteX1" fmla="*/ 5376410 w 5376410"/>
              <a:gd name="connsiteY1" fmla="*/ 915501 h 918489"/>
              <a:gd name="connsiteX2" fmla="*/ 0 w 5376410"/>
              <a:gd name="connsiteY2" fmla="*/ 918489 h 918489"/>
              <a:gd name="connsiteX3" fmla="*/ 710760 w 5376410"/>
              <a:gd name="connsiteY3" fmla="*/ 0 h 918489"/>
              <a:gd name="connsiteX0" fmla="*/ 722190 w 5376410"/>
              <a:gd name="connsiteY0" fmla="*/ 0 h 914679"/>
              <a:gd name="connsiteX1" fmla="*/ 5376410 w 5376410"/>
              <a:gd name="connsiteY1" fmla="*/ 911691 h 914679"/>
              <a:gd name="connsiteX2" fmla="*/ 0 w 5376410"/>
              <a:gd name="connsiteY2" fmla="*/ 914679 h 914679"/>
              <a:gd name="connsiteX3" fmla="*/ 722190 w 5376410"/>
              <a:gd name="connsiteY3" fmla="*/ 0 h 914679"/>
              <a:gd name="connsiteX0" fmla="*/ 735069 w 5389289"/>
              <a:gd name="connsiteY0" fmla="*/ 0 h 912104"/>
              <a:gd name="connsiteX1" fmla="*/ 5389289 w 5389289"/>
              <a:gd name="connsiteY1" fmla="*/ 911691 h 912104"/>
              <a:gd name="connsiteX2" fmla="*/ 0 w 5389289"/>
              <a:gd name="connsiteY2" fmla="*/ 912104 h 912104"/>
              <a:gd name="connsiteX3" fmla="*/ 735069 w 5389289"/>
              <a:gd name="connsiteY3" fmla="*/ 0 h 912104"/>
              <a:gd name="connsiteX0" fmla="*/ 735069 w 5389289"/>
              <a:gd name="connsiteY0" fmla="*/ 0 h 925339"/>
              <a:gd name="connsiteX1" fmla="*/ 5389289 w 5389289"/>
              <a:gd name="connsiteY1" fmla="*/ 925339 h 925339"/>
              <a:gd name="connsiteX2" fmla="*/ 0 w 5389289"/>
              <a:gd name="connsiteY2" fmla="*/ 912104 h 925339"/>
              <a:gd name="connsiteX3" fmla="*/ 735069 w 5389289"/>
              <a:gd name="connsiteY3" fmla="*/ 0 h 925339"/>
              <a:gd name="connsiteX0" fmla="*/ 762364 w 5416584"/>
              <a:gd name="connsiteY0" fmla="*/ 0 h 939400"/>
              <a:gd name="connsiteX1" fmla="*/ 5416584 w 5416584"/>
              <a:gd name="connsiteY1" fmla="*/ 925339 h 939400"/>
              <a:gd name="connsiteX2" fmla="*/ 0 w 5416584"/>
              <a:gd name="connsiteY2" fmla="*/ 939400 h 939400"/>
              <a:gd name="connsiteX3" fmla="*/ 762364 w 5416584"/>
              <a:gd name="connsiteY3" fmla="*/ 0 h 939400"/>
              <a:gd name="connsiteX0" fmla="*/ 762364 w 5416584"/>
              <a:gd name="connsiteY0" fmla="*/ 0 h 945010"/>
              <a:gd name="connsiteX1" fmla="*/ 5416584 w 5416584"/>
              <a:gd name="connsiteY1" fmla="*/ 930949 h 945010"/>
              <a:gd name="connsiteX2" fmla="*/ 0 w 5416584"/>
              <a:gd name="connsiteY2" fmla="*/ 945010 h 945010"/>
              <a:gd name="connsiteX3" fmla="*/ 762364 w 5416584"/>
              <a:gd name="connsiteY3" fmla="*/ 0 h 945010"/>
              <a:gd name="connsiteX0" fmla="*/ 762364 w 5416584"/>
              <a:gd name="connsiteY0" fmla="*/ 0 h 930949"/>
              <a:gd name="connsiteX1" fmla="*/ 5416584 w 5416584"/>
              <a:gd name="connsiteY1" fmla="*/ 930949 h 930949"/>
              <a:gd name="connsiteX2" fmla="*/ 0 w 5416584"/>
              <a:gd name="connsiteY2" fmla="*/ 921156 h 930949"/>
              <a:gd name="connsiteX3" fmla="*/ 762364 w 5416584"/>
              <a:gd name="connsiteY3" fmla="*/ 0 h 930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16584" h="930949">
                <a:moveTo>
                  <a:pt x="762364" y="0"/>
                </a:moveTo>
                <a:lnTo>
                  <a:pt x="5416584" y="930949"/>
                </a:lnTo>
                <a:lnTo>
                  <a:pt x="0" y="921156"/>
                </a:lnTo>
                <a:lnTo>
                  <a:pt x="762364" y="0"/>
                </a:lnTo>
                <a:close/>
              </a:path>
            </a:pathLst>
          </a:custGeom>
          <a:gradFill>
            <a:gsLst>
              <a:gs pos="4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2" name="Freeform 25">
            <a:extLst>
              <a:ext uri="{FF2B5EF4-FFF2-40B4-BE49-F238E27FC236}">
                <a16:creationId xmlns:a16="http://schemas.microsoft.com/office/drawing/2014/main" id="{2188AD68-EAE9-4050-8E10-D9438C2243B1}"/>
              </a:ext>
            </a:extLst>
          </p:cNvPr>
          <p:cNvSpPr/>
          <p:nvPr userDrawn="1"/>
        </p:nvSpPr>
        <p:spPr>
          <a:xfrm>
            <a:off x="10990536" y="3785435"/>
            <a:ext cx="1203845" cy="3091509"/>
          </a:xfrm>
          <a:custGeom>
            <a:avLst/>
            <a:gdLst>
              <a:gd name="connsiteX0" fmla="*/ 0 w 1182718"/>
              <a:gd name="connsiteY0" fmla="*/ 0 h 3032701"/>
              <a:gd name="connsiteX1" fmla="*/ 497800 w 1182718"/>
              <a:gd name="connsiteY1" fmla="*/ 3032701 h 3032701"/>
              <a:gd name="connsiteX2" fmla="*/ 1182718 w 1182718"/>
              <a:gd name="connsiteY2" fmla="*/ 515453 h 3032701"/>
              <a:gd name="connsiteX3" fmla="*/ 0 w 1182718"/>
              <a:gd name="connsiteY3" fmla="*/ 0 h 3032701"/>
              <a:gd name="connsiteX0" fmla="*/ 0 w 1179187"/>
              <a:gd name="connsiteY0" fmla="*/ 0 h 3029170"/>
              <a:gd name="connsiteX1" fmla="*/ 494269 w 1179187"/>
              <a:gd name="connsiteY1" fmla="*/ 3029170 h 3029170"/>
              <a:gd name="connsiteX2" fmla="*/ 1179187 w 1179187"/>
              <a:gd name="connsiteY2" fmla="*/ 511922 h 3029170"/>
              <a:gd name="connsiteX3" fmla="*/ 0 w 1179187"/>
              <a:gd name="connsiteY3" fmla="*/ 0 h 3029170"/>
              <a:gd name="connsiteX0" fmla="*/ 0 w 1179187"/>
              <a:gd name="connsiteY0" fmla="*/ 0 h 3039761"/>
              <a:gd name="connsiteX1" fmla="*/ 483677 w 1179187"/>
              <a:gd name="connsiteY1" fmla="*/ 3039761 h 3039761"/>
              <a:gd name="connsiteX2" fmla="*/ 1179187 w 1179187"/>
              <a:gd name="connsiteY2" fmla="*/ 511922 h 3039761"/>
              <a:gd name="connsiteX3" fmla="*/ 0 w 1179187"/>
              <a:gd name="connsiteY3" fmla="*/ 0 h 3039761"/>
              <a:gd name="connsiteX0" fmla="*/ 0 w 1190407"/>
              <a:gd name="connsiteY0" fmla="*/ 0 h 3039761"/>
              <a:gd name="connsiteX1" fmla="*/ 494897 w 1190407"/>
              <a:gd name="connsiteY1" fmla="*/ 3039761 h 3039761"/>
              <a:gd name="connsiteX2" fmla="*/ 1190407 w 1190407"/>
              <a:gd name="connsiteY2" fmla="*/ 511922 h 3039761"/>
              <a:gd name="connsiteX3" fmla="*/ 0 w 1190407"/>
              <a:gd name="connsiteY3" fmla="*/ 0 h 3039761"/>
              <a:gd name="connsiteX0" fmla="*/ 0 w 1203107"/>
              <a:gd name="connsiteY0" fmla="*/ 0 h 3065161"/>
              <a:gd name="connsiteX1" fmla="*/ 507597 w 1203107"/>
              <a:gd name="connsiteY1" fmla="*/ 3065161 h 3065161"/>
              <a:gd name="connsiteX2" fmla="*/ 1203107 w 1203107"/>
              <a:gd name="connsiteY2" fmla="*/ 537322 h 3065161"/>
              <a:gd name="connsiteX3" fmla="*/ 0 w 1203107"/>
              <a:gd name="connsiteY3" fmla="*/ 0 h 3065161"/>
              <a:gd name="connsiteX0" fmla="*/ 0 w 1209457"/>
              <a:gd name="connsiteY0" fmla="*/ 0 h 3065161"/>
              <a:gd name="connsiteX1" fmla="*/ 507597 w 1209457"/>
              <a:gd name="connsiteY1" fmla="*/ 3065161 h 3065161"/>
              <a:gd name="connsiteX2" fmla="*/ 1209457 w 1209457"/>
              <a:gd name="connsiteY2" fmla="*/ 543672 h 3065161"/>
              <a:gd name="connsiteX3" fmla="*/ 0 w 1209457"/>
              <a:gd name="connsiteY3" fmla="*/ 0 h 3065161"/>
              <a:gd name="connsiteX0" fmla="*/ 0 w 1215807"/>
              <a:gd name="connsiteY0" fmla="*/ 0 h 3065161"/>
              <a:gd name="connsiteX1" fmla="*/ 507597 w 1215807"/>
              <a:gd name="connsiteY1" fmla="*/ 3065161 h 3065161"/>
              <a:gd name="connsiteX2" fmla="*/ 1215807 w 1215807"/>
              <a:gd name="connsiteY2" fmla="*/ 537322 h 3065161"/>
              <a:gd name="connsiteX3" fmla="*/ 0 w 1215807"/>
              <a:gd name="connsiteY3" fmla="*/ 0 h 3065161"/>
              <a:gd name="connsiteX0" fmla="*/ 0 w 1209457"/>
              <a:gd name="connsiteY0" fmla="*/ 0 h 3077861"/>
              <a:gd name="connsiteX1" fmla="*/ 501247 w 1209457"/>
              <a:gd name="connsiteY1" fmla="*/ 3077861 h 3077861"/>
              <a:gd name="connsiteX2" fmla="*/ 1209457 w 1209457"/>
              <a:gd name="connsiteY2" fmla="*/ 550022 h 3077861"/>
              <a:gd name="connsiteX3" fmla="*/ 0 w 1209457"/>
              <a:gd name="connsiteY3" fmla="*/ 0 h 3077861"/>
              <a:gd name="connsiteX0" fmla="*/ 0 w 1209457"/>
              <a:gd name="connsiteY0" fmla="*/ 0 h 3091509"/>
              <a:gd name="connsiteX1" fmla="*/ 501247 w 1209457"/>
              <a:gd name="connsiteY1" fmla="*/ 3091509 h 3091509"/>
              <a:gd name="connsiteX2" fmla="*/ 1209457 w 1209457"/>
              <a:gd name="connsiteY2" fmla="*/ 550022 h 3091509"/>
              <a:gd name="connsiteX3" fmla="*/ 0 w 1209457"/>
              <a:gd name="connsiteY3" fmla="*/ 0 h 3091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9457" h="3091509">
                <a:moveTo>
                  <a:pt x="0" y="0"/>
                </a:moveTo>
                <a:lnTo>
                  <a:pt x="501247" y="3091509"/>
                </a:lnTo>
                <a:lnTo>
                  <a:pt x="1209457" y="55002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3" name="Freeform 26">
            <a:extLst>
              <a:ext uri="{FF2B5EF4-FFF2-40B4-BE49-F238E27FC236}">
                <a16:creationId xmlns:a16="http://schemas.microsoft.com/office/drawing/2014/main" id="{AB1FFB56-DFF5-407E-9579-733546E78D38}"/>
              </a:ext>
            </a:extLst>
          </p:cNvPr>
          <p:cNvSpPr/>
          <p:nvPr userDrawn="1"/>
        </p:nvSpPr>
        <p:spPr>
          <a:xfrm>
            <a:off x="11488254" y="4321334"/>
            <a:ext cx="708319" cy="2552078"/>
          </a:xfrm>
          <a:custGeom>
            <a:avLst/>
            <a:gdLst>
              <a:gd name="connsiteX0" fmla="*/ 691978 w 697728"/>
              <a:gd name="connsiteY0" fmla="*/ 0 h 2520778"/>
              <a:gd name="connsiteX1" fmla="*/ 0 w 697728"/>
              <a:gd name="connsiteY1" fmla="*/ 2520778 h 2520778"/>
              <a:gd name="connsiteX2" fmla="*/ 695509 w 697728"/>
              <a:gd name="connsiteY2" fmla="*/ 2517248 h 2520778"/>
              <a:gd name="connsiteX3" fmla="*/ 691978 w 697728"/>
              <a:gd name="connsiteY3" fmla="*/ 0 h 2520778"/>
              <a:gd name="connsiteX0" fmla="*/ 691978 w 697728"/>
              <a:gd name="connsiteY0" fmla="*/ 0 h 2531370"/>
              <a:gd name="connsiteX1" fmla="*/ 0 w 697728"/>
              <a:gd name="connsiteY1" fmla="*/ 2531370 h 2531370"/>
              <a:gd name="connsiteX2" fmla="*/ 695509 w 697728"/>
              <a:gd name="connsiteY2" fmla="*/ 2517248 h 2531370"/>
              <a:gd name="connsiteX3" fmla="*/ 691978 w 697728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1978 w 703175"/>
              <a:gd name="connsiteY0" fmla="*/ 0 h 2531370"/>
              <a:gd name="connsiteX1" fmla="*/ 0 w 703175"/>
              <a:gd name="connsiteY1" fmla="*/ 2531370 h 2531370"/>
              <a:gd name="connsiteX2" fmla="*/ 702570 w 703175"/>
              <a:gd name="connsiteY2" fmla="*/ 2527839 h 2531370"/>
              <a:gd name="connsiteX3" fmla="*/ 691978 w 703175"/>
              <a:gd name="connsiteY3" fmla="*/ 0 h 2531370"/>
              <a:gd name="connsiteX0" fmla="*/ 699039 w 704789"/>
              <a:gd name="connsiteY0" fmla="*/ 0 h 2541962"/>
              <a:gd name="connsiteX1" fmla="*/ 0 w 704789"/>
              <a:gd name="connsiteY1" fmla="*/ 2541962 h 2541962"/>
              <a:gd name="connsiteX2" fmla="*/ 702570 w 704789"/>
              <a:gd name="connsiteY2" fmla="*/ 2538431 h 2541962"/>
              <a:gd name="connsiteX3" fmla="*/ 699039 w 704789"/>
              <a:gd name="connsiteY3" fmla="*/ 0 h 2541962"/>
              <a:gd name="connsiteX0" fmla="*/ 702569 w 708319"/>
              <a:gd name="connsiteY0" fmla="*/ 0 h 2538431"/>
              <a:gd name="connsiteX1" fmla="*/ 0 w 708319"/>
              <a:gd name="connsiteY1" fmla="*/ 2538431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667264 w 673014"/>
              <a:gd name="connsiteY0" fmla="*/ 0 h 2538431"/>
              <a:gd name="connsiteX1" fmla="*/ 0 w 673014"/>
              <a:gd name="connsiteY1" fmla="*/ 2252460 h 2538431"/>
              <a:gd name="connsiteX2" fmla="*/ 670795 w 673014"/>
              <a:gd name="connsiteY2" fmla="*/ 2538431 h 2538431"/>
              <a:gd name="connsiteX3" fmla="*/ 667264 w 673014"/>
              <a:gd name="connsiteY3" fmla="*/ 0 h 2538431"/>
              <a:gd name="connsiteX0" fmla="*/ 702569 w 708319"/>
              <a:gd name="connsiteY0" fmla="*/ 0 h 2541961"/>
              <a:gd name="connsiteX1" fmla="*/ 0 w 708319"/>
              <a:gd name="connsiteY1" fmla="*/ 2541961 h 2541961"/>
              <a:gd name="connsiteX2" fmla="*/ 706100 w 708319"/>
              <a:gd name="connsiteY2" fmla="*/ 2538431 h 2541961"/>
              <a:gd name="connsiteX3" fmla="*/ 702569 w 708319"/>
              <a:gd name="connsiteY3" fmla="*/ 0 h 2541961"/>
              <a:gd name="connsiteX0" fmla="*/ 702569 w 708319"/>
              <a:gd name="connsiteY0" fmla="*/ 0 h 2538431"/>
              <a:gd name="connsiteX1" fmla="*/ 0 w 708319"/>
              <a:gd name="connsiteY1" fmla="*/ 2534900 h 2538431"/>
              <a:gd name="connsiteX2" fmla="*/ 706100 w 708319"/>
              <a:gd name="connsiteY2" fmla="*/ 2538431 h 2538431"/>
              <a:gd name="connsiteX3" fmla="*/ 702569 w 708319"/>
              <a:gd name="connsiteY3" fmla="*/ 0 h 2538431"/>
              <a:gd name="connsiteX0" fmla="*/ 702569 w 708319"/>
              <a:gd name="connsiteY0" fmla="*/ 0 h 2548548"/>
              <a:gd name="connsiteX1" fmla="*/ 0 w 708319"/>
              <a:gd name="connsiteY1" fmla="*/ 2548548 h 2548548"/>
              <a:gd name="connsiteX2" fmla="*/ 706100 w 708319"/>
              <a:gd name="connsiteY2" fmla="*/ 2538431 h 2548548"/>
              <a:gd name="connsiteX3" fmla="*/ 702569 w 708319"/>
              <a:gd name="connsiteY3" fmla="*/ 0 h 2548548"/>
              <a:gd name="connsiteX0" fmla="*/ 702569 w 704906"/>
              <a:gd name="connsiteY0" fmla="*/ 0 h 2548548"/>
              <a:gd name="connsiteX1" fmla="*/ 0 w 704906"/>
              <a:gd name="connsiteY1" fmla="*/ 2548548 h 2548548"/>
              <a:gd name="connsiteX2" fmla="*/ 692452 w 704906"/>
              <a:gd name="connsiteY2" fmla="*/ 2538431 h 2548548"/>
              <a:gd name="connsiteX3" fmla="*/ 702569 w 704906"/>
              <a:gd name="connsiteY3" fmla="*/ 0 h 2548548"/>
              <a:gd name="connsiteX0" fmla="*/ 702569 w 708319"/>
              <a:gd name="connsiteY0" fmla="*/ 0 h 2565726"/>
              <a:gd name="connsiteX1" fmla="*/ 0 w 708319"/>
              <a:gd name="connsiteY1" fmla="*/ 2548548 h 2565726"/>
              <a:gd name="connsiteX2" fmla="*/ 706100 w 708319"/>
              <a:gd name="connsiteY2" fmla="*/ 2565726 h 2565726"/>
              <a:gd name="connsiteX3" fmla="*/ 702569 w 708319"/>
              <a:gd name="connsiteY3" fmla="*/ 0 h 2565726"/>
              <a:gd name="connsiteX0" fmla="*/ 702569 w 708319"/>
              <a:gd name="connsiteY0" fmla="*/ 0 h 2552078"/>
              <a:gd name="connsiteX1" fmla="*/ 0 w 708319"/>
              <a:gd name="connsiteY1" fmla="*/ 2548548 h 2552078"/>
              <a:gd name="connsiteX2" fmla="*/ 706100 w 708319"/>
              <a:gd name="connsiteY2" fmla="*/ 2552078 h 2552078"/>
              <a:gd name="connsiteX3" fmla="*/ 702569 w 708319"/>
              <a:gd name="connsiteY3" fmla="*/ 0 h 2552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8319" h="2552078">
                <a:moveTo>
                  <a:pt x="702569" y="0"/>
                </a:moveTo>
                <a:lnTo>
                  <a:pt x="0" y="2548548"/>
                </a:lnTo>
                <a:lnTo>
                  <a:pt x="706100" y="2552078"/>
                </a:lnTo>
                <a:cubicBezTo>
                  <a:pt x="708454" y="1710642"/>
                  <a:pt x="710807" y="834375"/>
                  <a:pt x="702569" y="0"/>
                </a:cubicBezTo>
                <a:close/>
              </a:path>
            </a:pathLst>
          </a:custGeom>
          <a:gradFill>
            <a:gsLst>
              <a:gs pos="21000">
                <a:schemeClr val="accent2"/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4" name="Freeform 27">
            <a:extLst>
              <a:ext uri="{FF2B5EF4-FFF2-40B4-BE49-F238E27FC236}">
                <a16:creationId xmlns:a16="http://schemas.microsoft.com/office/drawing/2014/main" id="{E5D000B4-7054-435E-BE68-3BE9D74FD10D}"/>
              </a:ext>
            </a:extLst>
          </p:cNvPr>
          <p:cNvSpPr/>
          <p:nvPr userDrawn="1"/>
        </p:nvSpPr>
        <p:spPr>
          <a:xfrm>
            <a:off x="8745794" y="2426110"/>
            <a:ext cx="2263877" cy="4424516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3877" h="4424516">
                <a:moveTo>
                  <a:pt x="958645" y="0"/>
                </a:moveTo>
                <a:lnTo>
                  <a:pt x="2263877" y="1393722"/>
                </a:lnTo>
                <a:lnTo>
                  <a:pt x="0" y="4424516"/>
                </a:lnTo>
                <a:lnTo>
                  <a:pt x="958645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5" name="Freeform 28">
            <a:extLst>
              <a:ext uri="{FF2B5EF4-FFF2-40B4-BE49-F238E27FC236}">
                <a16:creationId xmlns:a16="http://schemas.microsoft.com/office/drawing/2014/main" id="{5F353CDE-4E8D-48D4-AAB0-127998E915F4}"/>
              </a:ext>
            </a:extLst>
          </p:cNvPr>
          <p:cNvSpPr/>
          <p:nvPr userDrawn="1"/>
        </p:nvSpPr>
        <p:spPr>
          <a:xfrm>
            <a:off x="-1" y="-1"/>
            <a:ext cx="3153403" cy="177371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53403" h="1773715">
                <a:moveTo>
                  <a:pt x="0" y="0"/>
                </a:moveTo>
                <a:lnTo>
                  <a:pt x="1036790" y="1773715"/>
                </a:lnTo>
                <a:lnTo>
                  <a:pt x="3153403" y="1771137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6" name="Freeform 29">
            <a:extLst>
              <a:ext uri="{FF2B5EF4-FFF2-40B4-BE49-F238E27FC236}">
                <a16:creationId xmlns:a16="http://schemas.microsoft.com/office/drawing/2014/main" id="{2BCCE37C-B509-4F9A-9A1A-A0B3FC4BD002}"/>
              </a:ext>
            </a:extLst>
          </p:cNvPr>
          <p:cNvSpPr/>
          <p:nvPr userDrawn="1"/>
        </p:nvSpPr>
        <p:spPr>
          <a:xfrm>
            <a:off x="-2381" y="-1"/>
            <a:ext cx="3112998" cy="1786065"/>
          </a:xfrm>
          <a:custGeom>
            <a:avLst/>
            <a:gdLst>
              <a:gd name="connsiteX0" fmla="*/ 0 w 3172858"/>
              <a:gd name="connsiteY0" fmla="*/ 0 h 1773716"/>
              <a:gd name="connsiteX1" fmla="*/ 1079653 w 3172858"/>
              <a:gd name="connsiteY1" fmla="*/ 1773716 h 1773716"/>
              <a:gd name="connsiteX2" fmla="*/ 3172858 w 3172858"/>
              <a:gd name="connsiteY2" fmla="*/ 1751682 h 1773716"/>
              <a:gd name="connsiteX3" fmla="*/ 0 w 3172858"/>
              <a:gd name="connsiteY3" fmla="*/ 0 h 1773716"/>
              <a:gd name="connsiteX0" fmla="*/ 0 w 3114492"/>
              <a:gd name="connsiteY0" fmla="*/ 0 h 1773716"/>
              <a:gd name="connsiteX1" fmla="*/ 1079653 w 3114492"/>
              <a:gd name="connsiteY1" fmla="*/ 1773716 h 1773716"/>
              <a:gd name="connsiteX2" fmla="*/ 3114492 w 3114492"/>
              <a:gd name="connsiteY2" fmla="*/ 1177750 h 1773716"/>
              <a:gd name="connsiteX3" fmla="*/ 0 w 3114492"/>
              <a:gd name="connsiteY3" fmla="*/ 0 h 1773716"/>
              <a:gd name="connsiteX0" fmla="*/ 0 w 3153403"/>
              <a:gd name="connsiteY0" fmla="*/ 0 h 1773716"/>
              <a:gd name="connsiteX1" fmla="*/ 1079653 w 3153403"/>
              <a:gd name="connsiteY1" fmla="*/ 1773716 h 1773716"/>
              <a:gd name="connsiteX2" fmla="*/ 3153403 w 3153403"/>
              <a:gd name="connsiteY2" fmla="*/ 1771137 h 1773716"/>
              <a:gd name="connsiteX3" fmla="*/ 0 w 3153403"/>
              <a:gd name="connsiteY3" fmla="*/ 0 h 1773716"/>
              <a:gd name="connsiteX0" fmla="*/ 0 w 3153403"/>
              <a:gd name="connsiteY0" fmla="*/ 0 h 1771137"/>
              <a:gd name="connsiteX1" fmla="*/ 1036790 w 3153403"/>
              <a:gd name="connsiteY1" fmla="*/ 1768953 h 1771137"/>
              <a:gd name="connsiteX2" fmla="*/ 3153403 w 3153403"/>
              <a:gd name="connsiteY2" fmla="*/ 1771137 h 1771137"/>
              <a:gd name="connsiteX3" fmla="*/ 0 w 3153403"/>
              <a:gd name="connsiteY3" fmla="*/ 0 h 1771137"/>
              <a:gd name="connsiteX0" fmla="*/ 0 w 3153403"/>
              <a:gd name="connsiteY0" fmla="*/ 0 h 1773715"/>
              <a:gd name="connsiteX1" fmla="*/ 1036790 w 3153403"/>
              <a:gd name="connsiteY1" fmla="*/ 1773715 h 1773715"/>
              <a:gd name="connsiteX2" fmla="*/ 3153403 w 3153403"/>
              <a:gd name="connsiteY2" fmla="*/ 1771137 h 1773715"/>
              <a:gd name="connsiteX3" fmla="*/ 0 w 3153403"/>
              <a:gd name="connsiteY3" fmla="*/ 0 h 1773715"/>
              <a:gd name="connsiteX0" fmla="*/ 0 w 3081965"/>
              <a:gd name="connsiteY0" fmla="*/ 0 h 1775900"/>
              <a:gd name="connsiteX1" fmla="*/ 1036790 w 3081965"/>
              <a:gd name="connsiteY1" fmla="*/ 1773715 h 1775900"/>
              <a:gd name="connsiteX2" fmla="*/ 3081965 w 3081965"/>
              <a:gd name="connsiteY2" fmla="*/ 1775900 h 1775900"/>
              <a:gd name="connsiteX3" fmla="*/ 0 w 3081965"/>
              <a:gd name="connsiteY3" fmla="*/ 0 h 1775900"/>
              <a:gd name="connsiteX0" fmla="*/ 0 w 3086728"/>
              <a:gd name="connsiteY0" fmla="*/ 0 h 1775900"/>
              <a:gd name="connsiteX1" fmla="*/ 1036790 w 3086728"/>
              <a:gd name="connsiteY1" fmla="*/ 1773715 h 1775900"/>
              <a:gd name="connsiteX2" fmla="*/ 3086728 w 3086728"/>
              <a:gd name="connsiteY2" fmla="*/ 1775900 h 1775900"/>
              <a:gd name="connsiteX3" fmla="*/ 0 w 3086728"/>
              <a:gd name="connsiteY3" fmla="*/ 0 h 1775900"/>
              <a:gd name="connsiteX0" fmla="*/ 0 w 3091491"/>
              <a:gd name="connsiteY0" fmla="*/ 0 h 1799713"/>
              <a:gd name="connsiteX1" fmla="*/ 1036790 w 3091491"/>
              <a:gd name="connsiteY1" fmla="*/ 1773715 h 1799713"/>
              <a:gd name="connsiteX2" fmla="*/ 3091491 w 3091491"/>
              <a:gd name="connsiteY2" fmla="*/ 1799713 h 1799713"/>
              <a:gd name="connsiteX3" fmla="*/ 0 w 3091491"/>
              <a:gd name="connsiteY3" fmla="*/ 0 h 1799713"/>
              <a:gd name="connsiteX0" fmla="*/ 0 w 3120066"/>
              <a:gd name="connsiteY0" fmla="*/ 0 h 1799713"/>
              <a:gd name="connsiteX1" fmla="*/ 103679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20066"/>
              <a:gd name="connsiteY0" fmla="*/ 0 h 1799713"/>
              <a:gd name="connsiteX1" fmla="*/ 1019730 w 3120066"/>
              <a:gd name="connsiteY1" fmla="*/ 1773715 h 1799713"/>
              <a:gd name="connsiteX2" fmla="*/ 3120066 w 3120066"/>
              <a:gd name="connsiteY2" fmla="*/ 1799713 h 1799713"/>
              <a:gd name="connsiteX3" fmla="*/ 0 w 3120066"/>
              <a:gd name="connsiteY3" fmla="*/ 0 h 1799713"/>
              <a:gd name="connsiteX0" fmla="*/ 0 w 3133714"/>
              <a:gd name="connsiteY0" fmla="*/ 0 h 1799713"/>
              <a:gd name="connsiteX1" fmla="*/ 1033378 w 3133714"/>
              <a:gd name="connsiteY1" fmla="*/ 1773715 h 1799713"/>
              <a:gd name="connsiteX2" fmla="*/ 3133714 w 3133714"/>
              <a:gd name="connsiteY2" fmla="*/ 1799713 h 1799713"/>
              <a:gd name="connsiteX3" fmla="*/ 0 w 3133714"/>
              <a:gd name="connsiteY3" fmla="*/ 0 h 1799713"/>
              <a:gd name="connsiteX0" fmla="*/ 0 w 3140538"/>
              <a:gd name="connsiteY0" fmla="*/ 0 h 1799713"/>
              <a:gd name="connsiteX1" fmla="*/ 1040202 w 3140538"/>
              <a:gd name="connsiteY1" fmla="*/ 1773715 h 1799713"/>
              <a:gd name="connsiteX2" fmla="*/ 3140538 w 3140538"/>
              <a:gd name="connsiteY2" fmla="*/ 1799713 h 1799713"/>
              <a:gd name="connsiteX3" fmla="*/ 0 w 3140538"/>
              <a:gd name="connsiteY3" fmla="*/ 0 h 1799713"/>
              <a:gd name="connsiteX0" fmla="*/ 0 w 3126890"/>
              <a:gd name="connsiteY0" fmla="*/ 0 h 1786065"/>
              <a:gd name="connsiteX1" fmla="*/ 1040202 w 3126890"/>
              <a:gd name="connsiteY1" fmla="*/ 1773715 h 1786065"/>
              <a:gd name="connsiteX2" fmla="*/ 3126890 w 3126890"/>
              <a:gd name="connsiteY2" fmla="*/ 1786065 h 1786065"/>
              <a:gd name="connsiteX3" fmla="*/ 0 w 3126890"/>
              <a:gd name="connsiteY3" fmla="*/ 0 h 1786065"/>
              <a:gd name="connsiteX0" fmla="*/ 0 w 3113242"/>
              <a:gd name="connsiteY0" fmla="*/ 0 h 1782653"/>
              <a:gd name="connsiteX1" fmla="*/ 1026554 w 3113242"/>
              <a:gd name="connsiteY1" fmla="*/ 1770303 h 1782653"/>
              <a:gd name="connsiteX2" fmla="*/ 3113242 w 3113242"/>
              <a:gd name="connsiteY2" fmla="*/ 1782653 h 1782653"/>
              <a:gd name="connsiteX3" fmla="*/ 0 w 3113242"/>
              <a:gd name="connsiteY3" fmla="*/ 0 h 1782653"/>
              <a:gd name="connsiteX0" fmla="*/ 0 w 3123478"/>
              <a:gd name="connsiteY0" fmla="*/ 0 h 1782653"/>
              <a:gd name="connsiteX1" fmla="*/ 1036790 w 3123478"/>
              <a:gd name="connsiteY1" fmla="*/ 1770303 h 1782653"/>
              <a:gd name="connsiteX2" fmla="*/ 3123478 w 3123478"/>
              <a:gd name="connsiteY2" fmla="*/ 1782653 h 1782653"/>
              <a:gd name="connsiteX3" fmla="*/ 0 w 3123478"/>
              <a:gd name="connsiteY3" fmla="*/ 0 h 1782653"/>
              <a:gd name="connsiteX0" fmla="*/ 0 w 3109830"/>
              <a:gd name="connsiteY0" fmla="*/ 0 h 1782653"/>
              <a:gd name="connsiteX1" fmla="*/ 1036790 w 3109830"/>
              <a:gd name="connsiteY1" fmla="*/ 1770303 h 1782653"/>
              <a:gd name="connsiteX2" fmla="*/ 3109830 w 3109830"/>
              <a:gd name="connsiteY2" fmla="*/ 1782653 h 1782653"/>
              <a:gd name="connsiteX3" fmla="*/ 0 w 3109830"/>
              <a:gd name="connsiteY3" fmla="*/ 0 h 1782653"/>
              <a:gd name="connsiteX0" fmla="*/ 0 w 3120462"/>
              <a:gd name="connsiteY0" fmla="*/ 0 h 1793286"/>
              <a:gd name="connsiteX1" fmla="*/ 1047422 w 3120462"/>
              <a:gd name="connsiteY1" fmla="*/ 1780936 h 1793286"/>
              <a:gd name="connsiteX2" fmla="*/ 3120462 w 3120462"/>
              <a:gd name="connsiteY2" fmla="*/ 1793286 h 1793286"/>
              <a:gd name="connsiteX3" fmla="*/ 0 w 3120462"/>
              <a:gd name="connsiteY3" fmla="*/ 0 h 179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120462" h="1793286">
                <a:moveTo>
                  <a:pt x="0" y="0"/>
                </a:moveTo>
                <a:lnTo>
                  <a:pt x="1047422" y="1780936"/>
                </a:lnTo>
                <a:lnTo>
                  <a:pt x="3120462" y="179328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chemeClr val="accent2"/>
              </a:gs>
              <a:gs pos="9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7" name="Freeform 30">
            <a:extLst>
              <a:ext uri="{FF2B5EF4-FFF2-40B4-BE49-F238E27FC236}">
                <a16:creationId xmlns:a16="http://schemas.microsoft.com/office/drawing/2014/main" id="{98D5A9C8-1939-4DCC-934A-46B4AA8755D8}"/>
              </a:ext>
            </a:extLst>
          </p:cNvPr>
          <p:cNvSpPr/>
          <p:nvPr userDrawn="1"/>
        </p:nvSpPr>
        <p:spPr>
          <a:xfrm>
            <a:off x="-3295" y="1769807"/>
            <a:ext cx="1407341" cy="5098422"/>
          </a:xfrm>
          <a:custGeom>
            <a:avLst/>
            <a:gdLst>
              <a:gd name="connsiteX0" fmla="*/ 1026488 w 1398147"/>
              <a:gd name="connsiteY0" fmla="*/ 0 h 5073445"/>
              <a:gd name="connsiteX1" fmla="*/ 1398147 w 1398147"/>
              <a:gd name="connsiteY1" fmla="*/ 1875995 h 5073445"/>
              <a:gd name="connsiteX2" fmla="*/ 0 w 1398147"/>
              <a:gd name="connsiteY2" fmla="*/ 5073445 h 5073445"/>
              <a:gd name="connsiteX3" fmla="*/ 1026488 w 1398147"/>
              <a:gd name="connsiteY3" fmla="*/ 0 h 5073445"/>
              <a:gd name="connsiteX0" fmla="*/ 1032388 w 1398147"/>
              <a:gd name="connsiteY0" fmla="*/ 0 h 5055747"/>
              <a:gd name="connsiteX1" fmla="*/ 1398147 w 1398147"/>
              <a:gd name="connsiteY1" fmla="*/ 1858297 h 5055747"/>
              <a:gd name="connsiteX2" fmla="*/ 0 w 1398147"/>
              <a:gd name="connsiteY2" fmla="*/ 5055747 h 5055747"/>
              <a:gd name="connsiteX3" fmla="*/ 1032388 w 1398147"/>
              <a:gd name="connsiteY3" fmla="*/ 0 h 5055747"/>
              <a:gd name="connsiteX0" fmla="*/ 1032388 w 1398147"/>
              <a:gd name="connsiteY0" fmla="*/ 0 h 5061646"/>
              <a:gd name="connsiteX1" fmla="*/ 1398147 w 1398147"/>
              <a:gd name="connsiteY1" fmla="*/ 1864196 h 5061646"/>
              <a:gd name="connsiteX2" fmla="*/ 0 w 1398147"/>
              <a:gd name="connsiteY2" fmla="*/ 5061646 h 5061646"/>
              <a:gd name="connsiteX3" fmla="*/ 1032388 w 1398147"/>
              <a:gd name="connsiteY3" fmla="*/ 0 h 5061646"/>
              <a:gd name="connsiteX0" fmla="*/ 1032388 w 1398147"/>
              <a:gd name="connsiteY0" fmla="*/ 0 h 5079344"/>
              <a:gd name="connsiteX1" fmla="*/ 1398147 w 1398147"/>
              <a:gd name="connsiteY1" fmla="*/ 1881894 h 5079344"/>
              <a:gd name="connsiteX2" fmla="*/ 0 w 1398147"/>
              <a:gd name="connsiteY2" fmla="*/ 5079344 h 5079344"/>
              <a:gd name="connsiteX3" fmla="*/ 1032388 w 1398147"/>
              <a:gd name="connsiteY3" fmla="*/ 0 h 5079344"/>
              <a:gd name="connsiteX0" fmla="*/ 1032388 w 1398147"/>
              <a:gd name="connsiteY0" fmla="*/ 0 h 5089936"/>
              <a:gd name="connsiteX1" fmla="*/ 1398147 w 1398147"/>
              <a:gd name="connsiteY1" fmla="*/ 1881894 h 5089936"/>
              <a:gd name="connsiteX2" fmla="*/ 0 w 1398147"/>
              <a:gd name="connsiteY2" fmla="*/ 5089936 h 5089936"/>
              <a:gd name="connsiteX3" fmla="*/ 1032388 w 1398147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81894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1039450 w 1405209"/>
              <a:gd name="connsiteY3" fmla="*/ 0 h 5089936"/>
              <a:gd name="connsiteX0" fmla="*/ 1039450 w 1405209"/>
              <a:gd name="connsiteY0" fmla="*/ 0 h 5089936"/>
              <a:gd name="connsiteX1" fmla="*/ 1405209 w 1405209"/>
              <a:gd name="connsiteY1" fmla="*/ 1891419 h 5089936"/>
              <a:gd name="connsiteX2" fmla="*/ 0 w 1405209"/>
              <a:gd name="connsiteY2" fmla="*/ 5089936 h 5089936"/>
              <a:gd name="connsiteX3" fmla="*/ 8890 w 1405209"/>
              <a:gd name="connsiteY3" fmla="*/ 5081754 h 5089936"/>
              <a:gd name="connsiteX4" fmla="*/ 1039450 w 1405209"/>
              <a:gd name="connsiteY4" fmla="*/ 0 h 5089936"/>
              <a:gd name="connsiteX0" fmla="*/ 1041582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41582 w 1407341"/>
              <a:gd name="connsiteY4" fmla="*/ 0 h 5098422"/>
              <a:gd name="connsiteX0" fmla="*/ 1034758 w 1407341"/>
              <a:gd name="connsiteY0" fmla="*/ 0 h 5098422"/>
              <a:gd name="connsiteX1" fmla="*/ 1407341 w 1407341"/>
              <a:gd name="connsiteY1" fmla="*/ 1891419 h 5098422"/>
              <a:gd name="connsiteX2" fmla="*/ 2132 w 1407341"/>
              <a:gd name="connsiteY2" fmla="*/ 5089936 h 5098422"/>
              <a:gd name="connsiteX3" fmla="*/ 719 w 1407341"/>
              <a:gd name="connsiteY3" fmla="*/ 5097208 h 5098422"/>
              <a:gd name="connsiteX4" fmla="*/ 1034758 w 1407341"/>
              <a:gd name="connsiteY4" fmla="*/ 0 h 50984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7341" h="5098422">
                <a:moveTo>
                  <a:pt x="1034758" y="0"/>
                </a:moveTo>
                <a:lnTo>
                  <a:pt x="1407341" y="1891419"/>
                </a:lnTo>
                <a:lnTo>
                  <a:pt x="2132" y="5089936"/>
                </a:lnTo>
                <a:cubicBezTo>
                  <a:pt x="5095" y="5083774"/>
                  <a:pt x="-2244" y="5103370"/>
                  <a:pt x="719" y="5097208"/>
                </a:cubicBezTo>
                <a:lnTo>
                  <a:pt x="1034758" y="0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76000">
                <a:schemeClr val="accent1"/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8" name="Freeform 31">
            <a:extLst>
              <a:ext uri="{FF2B5EF4-FFF2-40B4-BE49-F238E27FC236}">
                <a16:creationId xmlns:a16="http://schemas.microsoft.com/office/drawing/2014/main" id="{3E41388E-5D07-4235-B363-64E1D06277B2}"/>
              </a:ext>
            </a:extLst>
          </p:cNvPr>
          <p:cNvSpPr/>
          <p:nvPr userDrawn="1"/>
        </p:nvSpPr>
        <p:spPr>
          <a:xfrm>
            <a:off x="8694845" y="2426110"/>
            <a:ext cx="2293341" cy="4440419"/>
          </a:xfrm>
          <a:custGeom>
            <a:avLst/>
            <a:gdLst>
              <a:gd name="connsiteX0" fmla="*/ 958645 w 2263877"/>
              <a:gd name="connsiteY0" fmla="*/ 0 h 4424516"/>
              <a:gd name="connsiteX1" fmla="*/ 2263877 w 2263877"/>
              <a:gd name="connsiteY1" fmla="*/ 1393722 h 4424516"/>
              <a:gd name="connsiteX2" fmla="*/ 0 w 2263877"/>
              <a:gd name="connsiteY2" fmla="*/ 4424516 h 4424516"/>
              <a:gd name="connsiteX3" fmla="*/ 958645 w 2263877"/>
              <a:gd name="connsiteY3" fmla="*/ 0 h 4424516"/>
              <a:gd name="connsiteX0" fmla="*/ 958645 w 2269487"/>
              <a:gd name="connsiteY0" fmla="*/ 0 h 4424516"/>
              <a:gd name="connsiteX1" fmla="*/ 2269487 w 2269487"/>
              <a:gd name="connsiteY1" fmla="*/ 1388112 h 4424516"/>
              <a:gd name="connsiteX2" fmla="*/ 0 w 2269487"/>
              <a:gd name="connsiteY2" fmla="*/ 4424516 h 4424516"/>
              <a:gd name="connsiteX3" fmla="*/ 958645 w 2269487"/>
              <a:gd name="connsiteY3" fmla="*/ 0 h 4424516"/>
              <a:gd name="connsiteX0" fmla="*/ 982499 w 2293341"/>
              <a:gd name="connsiteY0" fmla="*/ 0 h 4440419"/>
              <a:gd name="connsiteX1" fmla="*/ 2293341 w 2293341"/>
              <a:gd name="connsiteY1" fmla="*/ 1388112 h 4440419"/>
              <a:gd name="connsiteX2" fmla="*/ 0 w 2293341"/>
              <a:gd name="connsiteY2" fmla="*/ 4440419 h 4440419"/>
              <a:gd name="connsiteX3" fmla="*/ 982499 w 2293341"/>
              <a:gd name="connsiteY3" fmla="*/ 0 h 4440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3341" h="4440419">
                <a:moveTo>
                  <a:pt x="982499" y="0"/>
                </a:moveTo>
                <a:lnTo>
                  <a:pt x="2293341" y="1388112"/>
                </a:lnTo>
                <a:lnTo>
                  <a:pt x="0" y="4440419"/>
                </a:lnTo>
                <a:lnTo>
                  <a:pt x="982499" y="0"/>
                </a:lnTo>
                <a:close/>
              </a:path>
            </a:pathLst>
          </a:custGeom>
          <a:gradFill>
            <a:gsLst>
              <a:gs pos="34000">
                <a:schemeClr val="accent2"/>
              </a:gs>
              <a:gs pos="100000">
                <a:schemeClr val="accent1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9" name="Freeform 32">
            <a:extLst>
              <a:ext uri="{FF2B5EF4-FFF2-40B4-BE49-F238E27FC236}">
                <a16:creationId xmlns:a16="http://schemas.microsoft.com/office/drawing/2014/main" id="{55437B4B-D5B6-41B6-A47A-F0E39067316F}"/>
              </a:ext>
            </a:extLst>
          </p:cNvPr>
          <p:cNvSpPr/>
          <p:nvPr userDrawn="1"/>
        </p:nvSpPr>
        <p:spPr>
          <a:xfrm>
            <a:off x="9669015" y="1094096"/>
            <a:ext cx="2522985" cy="2734954"/>
          </a:xfrm>
          <a:custGeom>
            <a:avLst/>
            <a:gdLst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309687 w 2481262"/>
              <a:gd name="connsiteY2" fmla="*/ 2762250 h 2762250"/>
              <a:gd name="connsiteX3" fmla="*/ 2481262 w 2481262"/>
              <a:gd name="connsiteY3" fmla="*/ 0 h 2762250"/>
              <a:gd name="connsiteX0" fmla="*/ 2481262 w 2481262"/>
              <a:gd name="connsiteY0" fmla="*/ 0 h 2762250"/>
              <a:gd name="connsiteX1" fmla="*/ 0 w 2481262"/>
              <a:gd name="connsiteY1" fmla="*/ 1371600 h 2762250"/>
              <a:gd name="connsiteX2" fmla="*/ 1292857 w 2481262"/>
              <a:gd name="connsiteY2" fmla="*/ 2762250 h 2762250"/>
              <a:gd name="connsiteX3" fmla="*/ 2481262 w 2481262"/>
              <a:gd name="connsiteY3" fmla="*/ 0 h 2762250"/>
              <a:gd name="connsiteX0" fmla="*/ 2509311 w 2509311"/>
              <a:gd name="connsiteY0" fmla="*/ 0 h 2762250"/>
              <a:gd name="connsiteX1" fmla="*/ 0 w 2509311"/>
              <a:gd name="connsiteY1" fmla="*/ 1354771 h 2762250"/>
              <a:gd name="connsiteX2" fmla="*/ 1320906 w 2509311"/>
              <a:gd name="connsiteY2" fmla="*/ 2762250 h 2762250"/>
              <a:gd name="connsiteX3" fmla="*/ 2509311 w 2509311"/>
              <a:gd name="connsiteY3" fmla="*/ 0 h 2762250"/>
              <a:gd name="connsiteX0" fmla="*/ 2519943 w 2519943"/>
              <a:gd name="connsiteY0" fmla="*/ 0 h 2762250"/>
              <a:gd name="connsiteX1" fmla="*/ 0 w 2519943"/>
              <a:gd name="connsiteY1" fmla="*/ 1354771 h 2762250"/>
              <a:gd name="connsiteX2" fmla="*/ 1320906 w 2519943"/>
              <a:gd name="connsiteY2" fmla="*/ 2762250 h 2762250"/>
              <a:gd name="connsiteX3" fmla="*/ 2519943 w 2519943"/>
              <a:gd name="connsiteY3" fmla="*/ 0 h 2762250"/>
              <a:gd name="connsiteX0" fmla="*/ 2530575 w 2530575"/>
              <a:gd name="connsiteY0" fmla="*/ 0 h 2762250"/>
              <a:gd name="connsiteX1" fmla="*/ 0 w 2530575"/>
              <a:gd name="connsiteY1" fmla="*/ 1354771 h 2762250"/>
              <a:gd name="connsiteX2" fmla="*/ 1320906 w 2530575"/>
              <a:gd name="connsiteY2" fmla="*/ 2762250 h 2762250"/>
              <a:gd name="connsiteX3" fmla="*/ 2530575 w 2530575"/>
              <a:gd name="connsiteY3" fmla="*/ 0 h 276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30575" h="2762250">
                <a:moveTo>
                  <a:pt x="2530575" y="0"/>
                </a:moveTo>
                <a:lnTo>
                  <a:pt x="0" y="1354771"/>
                </a:lnTo>
                <a:lnTo>
                  <a:pt x="1320906" y="2762250"/>
                </a:lnTo>
                <a:lnTo>
                  <a:pt x="2530575" y="0"/>
                </a:lnTo>
                <a:close/>
              </a:path>
            </a:pathLst>
          </a:custGeom>
          <a:gradFill>
            <a:gsLst>
              <a:gs pos="2100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0" name="Freeform 33">
            <a:extLst>
              <a:ext uri="{FF2B5EF4-FFF2-40B4-BE49-F238E27FC236}">
                <a16:creationId xmlns:a16="http://schemas.microsoft.com/office/drawing/2014/main" id="{58BB77C1-8074-45E3-96E2-0DF62BD5D028}"/>
              </a:ext>
            </a:extLst>
          </p:cNvPr>
          <p:cNvSpPr/>
          <p:nvPr userDrawn="1"/>
        </p:nvSpPr>
        <p:spPr>
          <a:xfrm>
            <a:off x="3317358" y="-5316"/>
            <a:ext cx="4354033" cy="1222744"/>
          </a:xfrm>
          <a:custGeom>
            <a:avLst/>
            <a:gdLst>
              <a:gd name="connsiteX0" fmla="*/ 0 w 4354033"/>
              <a:gd name="connsiteY0" fmla="*/ 0 h 1217428"/>
              <a:gd name="connsiteX1" fmla="*/ 3067493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54033"/>
              <a:gd name="connsiteY0" fmla="*/ 0 h 1217428"/>
              <a:gd name="connsiteX1" fmla="*/ 3088758 w 4354033"/>
              <a:gd name="connsiteY1" fmla="*/ 10632 h 1217428"/>
              <a:gd name="connsiteX2" fmla="*/ 4354033 w 4354033"/>
              <a:gd name="connsiteY2" fmla="*/ 1217428 h 1217428"/>
              <a:gd name="connsiteX3" fmla="*/ 0 w 4354033"/>
              <a:gd name="connsiteY3" fmla="*/ 0 h 1217428"/>
              <a:gd name="connsiteX0" fmla="*/ 0 w 4375298"/>
              <a:gd name="connsiteY0" fmla="*/ 0 h 1217428"/>
              <a:gd name="connsiteX1" fmla="*/ 3088758 w 4375298"/>
              <a:gd name="connsiteY1" fmla="*/ 10632 h 1217428"/>
              <a:gd name="connsiteX2" fmla="*/ 4375298 w 4375298"/>
              <a:gd name="connsiteY2" fmla="*/ 1217428 h 1217428"/>
              <a:gd name="connsiteX3" fmla="*/ 0 w 4375298"/>
              <a:gd name="connsiteY3" fmla="*/ 0 h 1217428"/>
              <a:gd name="connsiteX0" fmla="*/ 0 w 4364666"/>
              <a:gd name="connsiteY0" fmla="*/ 0 h 1217428"/>
              <a:gd name="connsiteX1" fmla="*/ 3088758 w 4364666"/>
              <a:gd name="connsiteY1" fmla="*/ 10632 h 1217428"/>
              <a:gd name="connsiteX2" fmla="*/ 4364666 w 4364666"/>
              <a:gd name="connsiteY2" fmla="*/ 1217428 h 1217428"/>
              <a:gd name="connsiteX3" fmla="*/ 0 w 4364666"/>
              <a:gd name="connsiteY3" fmla="*/ 0 h 1217428"/>
              <a:gd name="connsiteX0" fmla="*/ 0 w 4354033"/>
              <a:gd name="connsiteY0" fmla="*/ 0 h 1222744"/>
              <a:gd name="connsiteX1" fmla="*/ 3088758 w 4354033"/>
              <a:gd name="connsiteY1" fmla="*/ 10632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  <a:gd name="connsiteX0" fmla="*/ 0 w 4354033"/>
              <a:gd name="connsiteY0" fmla="*/ 5317 h 1228061"/>
              <a:gd name="connsiteX1" fmla="*/ 3083442 w 4354033"/>
              <a:gd name="connsiteY1" fmla="*/ 0 h 1228061"/>
              <a:gd name="connsiteX2" fmla="*/ 4354033 w 4354033"/>
              <a:gd name="connsiteY2" fmla="*/ 1228061 h 1228061"/>
              <a:gd name="connsiteX3" fmla="*/ 0 w 4354033"/>
              <a:gd name="connsiteY3" fmla="*/ 5317 h 1228061"/>
              <a:gd name="connsiteX0" fmla="*/ 0 w 4354033"/>
              <a:gd name="connsiteY0" fmla="*/ 0 h 1222744"/>
              <a:gd name="connsiteX1" fmla="*/ 3094074 w 4354033"/>
              <a:gd name="connsiteY1" fmla="*/ 5315 h 1222744"/>
              <a:gd name="connsiteX2" fmla="*/ 4354033 w 4354033"/>
              <a:gd name="connsiteY2" fmla="*/ 1222744 h 1222744"/>
              <a:gd name="connsiteX3" fmla="*/ 0 w 4354033"/>
              <a:gd name="connsiteY3" fmla="*/ 0 h 1222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54033" h="1222744">
                <a:moveTo>
                  <a:pt x="0" y="0"/>
                </a:moveTo>
                <a:lnTo>
                  <a:pt x="3094074" y="5315"/>
                </a:lnTo>
                <a:lnTo>
                  <a:pt x="4354033" y="1222744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2"/>
              </a:gs>
              <a:gs pos="44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 34">
            <a:extLst>
              <a:ext uri="{FF2B5EF4-FFF2-40B4-BE49-F238E27FC236}">
                <a16:creationId xmlns:a16="http://schemas.microsoft.com/office/drawing/2014/main" id="{737FCE20-CBCB-43FC-A5C5-2A4A9F30894B}"/>
              </a:ext>
            </a:extLst>
          </p:cNvPr>
          <p:cNvSpPr/>
          <p:nvPr userDrawn="1"/>
        </p:nvSpPr>
        <p:spPr>
          <a:xfrm>
            <a:off x="8690615" y="3783805"/>
            <a:ext cx="2797640" cy="3086077"/>
          </a:xfrm>
          <a:custGeom>
            <a:avLst/>
            <a:gdLst>
              <a:gd name="connsiteX0" fmla="*/ 2270113 w 2753791"/>
              <a:gd name="connsiteY0" fmla="*/ 0 h 3029171"/>
              <a:gd name="connsiteX1" fmla="*/ 0 w 2753791"/>
              <a:gd name="connsiteY1" fmla="*/ 3025640 h 3029171"/>
              <a:gd name="connsiteX2" fmla="*/ 2753791 w 2753791"/>
              <a:gd name="connsiteY2" fmla="*/ 3029171 h 3029171"/>
              <a:gd name="connsiteX3" fmla="*/ 2270113 w 2753791"/>
              <a:gd name="connsiteY3" fmla="*/ 0 h 3029171"/>
              <a:gd name="connsiteX0" fmla="*/ 2247810 w 2753791"/>
              <a:gd name="connsiteY0" fmla="*/ 0 h 3073776"/>
              <a:gd name="connsiteX1" fmla="*/ 0 w 2753791"/>
              <a:gd name="connsiteY1" fmla="*/ 3070245 h 3073776"/>
              <a:gd name="connsiteX2" fmla="*/ 2753791 w 2753791"/>
              <a:gd name="connsiteY2" fmla="*/ 3073776 h 3073776"/>
              <a:gd name="connsiteX3" fmla="*/ 2247810 w 2753791"/>
              <a:gd name="connsiteY3" fmla="*/ 0 h 3073776"/>
              <a:gd name="connsiteX0" fmla="*/ 2311420 w 2817401"/>
              <a:gd name="connsiteY0" fmla="*/ 0 h 3073776"/>
              <a:gd name="connsiteX1" fmla="*/ 0 w 2817401"/>
              <a:gd name="connsiteY1" fmla="*/ 3062294 h 3073776"/>
              <a:gd name="connsiteX2" fmla="*/ 2817401 w 2817401"/>
              <a:gd name="connsiteY2" fmla="*/ 3073776 h 3073776"/>
              <a:gd name="connsiteX3" fmla="*/ 2311420 w 2817401"/>
              <a:gd name="connsiteY3" fmla="*/ 0 h 3073776"/>
              <a:gd name="connsiteX0" fmla="*/ 2311420 w 2817401"/>
              <a:gd name="connsiteY0" fmla="*/ 0 h 3089589"/>
              <a:gd name="connsiteX1" fmla="*/ 0 w 2817401"/>
              <a:gd name="connsiteY1" fmla="*/ 3089589 h 3089589"/>
              <a:gd name="connsiteX2" fmla="*/ 2817401 w 2817401"/>
              <a:gd name="connsiteY2" fmla="*/ 3073776 h 3089589"/>
              <a:gd name="connsiteX3" fmla="*/ 2311420 w 2817401"/>
              <a:gd name="connsiteY3" fmla="*/ 0 h 3089589"/>
              <a:gd name="connsiteX0" fmla="*/ 2306657 w 2812638"/>
              <a:gd name="connsiteY0" fmla="*/ 0 h 3089589"/>
              <a:gd name="connsiteX1" fmla="*/ 0 w 2812638"/>
              <a:gd name="connsiteY1" fmla="*/ 3089589 h 3089589"/>
              <a:gd name="connsiteX2" fmla="*/ 2812638 w 2812638"/>
              <a:gd name="connsiteY2" fmla="*/ 3073776 h 3089589"/>
              <a:gd name="connsiteX3" fmla="*/ 2306657 w 2812638"/>
              <a:gd name="connsiteY3" fmla="*/ 0 h 3089589"/>
              <a:gd name="connsiteX0" fmla="*/ 2306657 w 2812638"/>
              <a:gd name="connsiteY0" fmla="*/ 0 h 3084826"/>
              <a:gd name="connsiteX1" fmla="*/ 0 w 2812638"/>
              <a:gd name="connsiteY1" fmla="*/ 3084826 h 3084826"/>
              <a:gd name="connsiteX2" fmla="*/ 2812638 w 2812638"/>
              <a:gd name="connsiteY2" fmla="*/ 3073776 h 3084826"/>
              <a:gd name="connsiteX3" fmla="*/ 2306657 w 2812638"/>
              <a:gd name="connsiteY3" fmla="*/ 0 h 3084826"/>
              <a:gd name="connsiteX0" fmla="*/ 2292370 w 2798351"/>
              <a:gd name="connsiteY0" fmla="*/ 0 h 3084826"/>
              <a:gd name="connsiteX1" fmla="*/ 0 w 2798351"/>
              <a:gd name="connsiteY1" fmla="*/ 3084826 h 3084826"/>
              <a:gd name="connsiteX2" fmla="*/ 2798351 w 2798351"/>
              <a:gd name="connsiteY2" fmla="*/ 3073776 h 3084826"/>
              <a:gd name="connsiteX3" fmla="*/ 2292370 w 279835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2987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298720 w 2804701"/>
              <a:gd name="connsiteY3" fmla="*/ 0 h 3084826"/>
              <a:gd name="connsiteX0" fmla="*/ 2311420 w 2804701"/>
              <a:gd name="connsiteY0" fmla="*/ 0 h 3084826"/>
              <a:gd name="connsiteX1" fmla="*/ 0 w 2804701"/>
              <a:gd name="connsiteY1" fmla="*/ 3084826 h 3084826"/>
              <a:gd name="connsiteX2" fmla="*/ 2804701 w 2804701"/>
              <a:gd name="connsiteY2" fmla="*/ 3073776 h 3084826"/>
              <a:gd name="connsiteX3" fmla="*/ 2311420 w 2804701"/>
              <a:gd name="connsiteY3" fmla="*/ 0 h 3084826"/>
              <a:gd name="connsiteX0" fmla="*/ 2311420 w 2804701"/>
              <a:gd name="connsiteY0" fmla="*/ 0 h 3087424"/>
              <a:gd name="connsiteX1" fmla="*/ 0 w 2804701"/>
              <a:gd name="connsiteY1" fmla="*/ 3084826 h 3087424"/>
              <a:gd name="connsiteX2" fmla="*/ 2804701 w 2804701"/>
              <a:gd name="connsiteY2" fmla="*/ 3087424 h 3087424"/>
              <a:gd name="connsiteX3" fmla="*/ 2311420 w 2804701"/>
              <a:gd name="connsiteY3" fmla="*/ 0 h 3087424"/>
              <a:gd name="connsiteX0" fmla="*/ 2311420 w 2818349"/>
              <a:gd name="connsiteY0" fmla="*/ 0 h 3087424"/>
              <a:gd name="connsiteX1" fmla="*/ 0 w 2818349"/>
              <a:gd name="connsiteY1" fmla="*/ 3084826 h 3087424"/>
              <a:gd name="connsiteX2" fmla="*/ 2818349 w 2818349"/>
              <a:gd name="connsiteY2" fmla="*/ 3087424 h 3087424"/>
              <a:gd name="connsiteX3" fmla="*/ 2311420 w 2818349"/>
              <a:gd name="connsiteY3" fmla="*/ 0 h 3087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18349" h="3087424">
                <a:moveTo>
                  <a:pt x="2311420" y="0"/>
                </a:moveTo>
                <a:lnTo>
                  <a:pt x="0" y="3084826"/>
                </a:lnTo>
                <a:lnTo>
                  <a:pt x="2818349" y="3087424"/>
                </a:lnTo>
                <a:lnTo>
                  <a:pt x="2311420" y="0"/>
                </a:lnTo>
                <a:close/>
              </a:path>
            </a:pathLst>
          </a:custGeom>
          <a:gradFill>
            <a:gsLst>
              <a:gs pos="11000">
                <a:schemeClr val="accent2"/>
              </a:gs>
              <a:gs pos="78000">
                <a:schemeClr val="accent1"/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2" name="Freeform 35">
            <a:extLst>
              <a:ext uri="{FF2B5EF4-FFF2-40B4-BE49-F238E27FC236}">
                <a16:creationId xmlns:a16="http://schemas.microsoft.com/office/drawing/2014/main" id="{38276FE6-3B98-41F9-A539-43E0EB9109BF}"/>
              </a:ext>
            </a:extLst>
          </p:cNvPr>
          <p:cNvSpPr/>
          <p:nvPr userDrawn="1"/>
        </p:nvSpPr>
        <p:spPr>
          <a:xfrm>
            <a:off x="7660347" y="1094096"/>
            <a:ext cx="4531653" cy="1344304"/>
          </a:xfrm>
          <a:custGeom>
            <a:avLst/>
            <a:gdLst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43113 w 4533900"/>
              <a:gd name="connsiteY2" fmla="*/ 1371600 h 1371600"/>
              <a:gd name="connsiteX3" fmla="*/ 0 w 4533900"/>
              <a:gd name="connsiteY3" fmla="*/ 142875 h 1371600"/>
              <a:gd name="connsiteX0" fmla="*/ 0 w 4533900"/>
              <a:gd name="connsiteY0" fmla="*/ 142875 h 1371600"/>
              <a:gd name="connsiteX1" fmla="*/ 4533900 w 4533900"/>
              <a:gd name="connsiteY1" fmla="*/ 0 h 1371600"/>
              <a:gd name="connsiteX2" fmla="*/ 2021848 w 4533900"/>
              <a:gd name="connsiteY2" fmla="*/ 1371600 h 1371600"/>
              <a:gd name="connsiteX3" fmla="*/ 0 w 4533900"/>
              <a:gd name="connsiteY3" fmla="*/ 142875 h 1371600"/>
              <a:gd name="connsiteX0" fmla="*/ 0 w 4544532"/>
              <a:gd name="connsiteY0" fmla="*/ 153508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53508 h 1371600"/>
              <a:gd name="connsiteX0" fmla="*/ 0 w 4544532"/>
              <a:gd name="connsiteY0" fmla="*/ 142875 h 1371600"/>
              <a:gd name="connsiteX1" fmla="*/ 4544532 w 4544532"/>
              <a:gd name="connsiteY1" fmla="*/ 0 h 1371600"/>
              <a:gd name="connsiteX2" fmla="*/ 2032480 w 4544532"/>
              <a:gd name="connsiteY2" fmla="*/ 1371600 h 1371600"/>
              <a:gd name="connsiteX3" fmla="*/ 0 w 4544532"/>
              <a:gd name="connsiteY3" fmla="*/ 142875 h 1371600"/>
              <a:gd name="connsiteX0" fmla="*/ 0 w 4536805"/>
              <a:gd name="connsiteY0" fmla="*/ 148026 h 1371600"/>
              <a:gd name="connsiteX1" fmla="*/ 4536805 w 4536805"/>
              <a:gd name="connsiteY1" fmla="*/ 0 h 1371600"/>
              <a:gd name="connsiteX2" fmla="*/ 2024753 w 4536805"/>
              <a:gd name="connsiteY2" fmla="*/ 1371600 h 1371600"/>
              <a:gd name="connsiteX3" fmla="*/ 0 w 4536805"/>
              <a:gd name="connsiteY3" fmla="*/ 148026 h 1371600"/>
              <a:gd name="connsiteX0" fmla="*/ 0 w 4531653"/>
              <a:gd name="connsiteY0" fmla="*/ 142874 h 1371600"/>
              <a:gd name="connsiteX1" fmla="*/ 4531653 w 4531653"/>
              <a:gd name="connsiteY1" fmla="*/ 0 h 1371600"/>
              <a:gd name="connsiteX2" fmla="*/ 2019601 w 4531653"/>
              <a:gd name="connsiteY2" fmla="*/ 1371600 h 1371600"/>
              <a:gd name="connsiteX3" fmla="*/ 0 w 4531653"/>
              <a:gd name="connsiteY3" fmla="*/ 142874 h 1371600"/>
              <a:gd name="connsiteX0" fmla="*/ 0 w 3944799"/>
              <a:gd name="connsiteY0" fmla="*/ 33692 h 1262418"/>
              <a:gd name="connsiteX1" fmla="*/ 3944799 w 3944799"/>
              <a:gd name="connsiteY1" fmla="*/ 0 h 1262418"/>
              <a:gd name="connsiteX2" fmla="*/ 2019601 w 3944799"/>
              <a:gd name="connsiteY2" fmla="*/ 1262418 h 1262418"/>
              <a:gd name="connsiteX3" fmla="*/ 0 w 3944799"/>
              <a:gd name="connsiteY3" fmla="*/ 33692 h 1262418"/>
              <a:gd name="connsiteX0" fmla="*/ 0 w 4531653"/>
              <a:gd name="connsiteY0" fmla="*/ 115578 h 1344304"/>
              <a:gd name="connsiteX1" fmla="*/ 4531653 w 4531653"/>
              <a:gd name="connsiteY1" fmla="*/ 0 h 1344304"/>
              <a:gd name="connsiteX2" fmla="*/ 2019601 w 4531653"/>
              <a:gd name="connsiteY2" fmla="*/ 1344304 h 1344304"/>
              <a:gd name="connsiteX3" fmla="*/ 0 w 4531653"/>
              <a:gd name="connsiteY3" fmla="*/ 115578 h 1344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31653" h="1344304">
                <a:moveTo>
                  <a:pt x="0" y="115578"/>
                </a:moveTo>
                <a:lnTo>
                  <a:pt x="4531653" y="0"/>
                </a:lnTo>
                <a:lnTo>
                  <a:pt x="2019601" y="1344304"/>
                </a:lnTo>
                <a:lnTo>
                  <a:pt x="0" y="115578"/>
                </a:lnTo>
                <a:close/>
              </a:path>
            </a:pathLst>
          </a:custGeom>
          <a:gradFill>
            <a:gsLst>
              <a:gs pos="9000">
                <a:schemeClr val="accent1"/>
              </a:gs>
              <a:gs pos="100000">
                <a:schemeClr val="accent2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3" name="Freeform 36">
            <a:extLst>
              <a:ext uri="{FF2B5EF4-FFF2-40B4-BE49-F238E27FC236}">
                <a16:creationId xmlns:a16="http://schemas.microsoft.com/office/drawing/2014/main" id="{FCA4625E-0A0B-440C-BB0A-39B5567E0632}"/>
              </a:ext>
            </a:extLst>
          </p:cNvPr>
          <p:cNvSpPr/>
          <p:nvPr userDrawn="1"/>
        </p:nvSpPr>
        <p:spPr>
          <a:xfrm>
            <a:off x="4067336" y="4705135"/>
            <a:ext cx="4628534" cy="2161794"/>
          </a:xfrm>
          <a:custGeom>
            <a:avLst/>
            <a:gdLst>
              <a:gd name="connsiteX0" fmla="*/ 0 w 4632158"/>
              <a:gd name="connsiteY0" fmla="*/ 1239253 h 2129590"/>
              <a:gd name="connsiteX1" fmla="*/ 3645569 w 4632158"/>
              <a:gd name="connsiteY1" fmla="*/ 0 h 2129590"/>
              <a:gd name="connsiteX2" fmla="*/ 4632158 w 4632158"/>
              <a:gd name="connsiteY2" fmla="*/ 2129590 h 2129590"/>
              <a:gd name="connsiteX3" fmla="*/ 0 w 4632158"/>
              <a:gd name="connsiteY3" fmla="*/ 1239253 h 2129590"/>
              <a:gd name="connsiteX0" fmla="*/ 0 w 4632158"/>
              <a:gd name="connsiteY0" fmla="*/ 1243228 h 2133565"/>
              <a:gd name="connsiteX1" fmla="*/ 3641593 w 4632158"/>
              <a:gd name="connsiteY1" fmla="*/ 0 h 2133565"/>
              <a:gd name="connsiteX2" fmla="*/ 4632158 w 4632158"/>
              <a:gd name="connsiteY2" fmla="*/ 2133565 h 2133565"/>
              <a:gd name="connsiteX3" fmla="*/ 0 w 4632158"/>
              <a:gd name="connsiteY3" fmla="*/ 1243228 h 2133565"/>
              <a:gd name="connsiteX0" fmla="*/ 0 w 4656011"/>
              <a:gd name="connsiteY0" fmla="*/ 1243228 h 2157419"/>
              <a:gd name="connsiteX1" fmla="*/ 3641593 w 4656011"/>
              <a:gd name="connsiteY1" fmla="*/ 0 h 2157419"/>
              <a:gd name="connsiteX2" fmla="*/ 4656011 w 4656011"/>
              <a:gd name="connsiteY2" fmla="*/ 2157419 h 2157419"/>
              <a:gd name="connsiteX3" fmla="*/ 0 w 4656011"/>
              <a:gd name="connsiteY3" fmla="*/ 1243228 h 2157419"/>
              <a:gd name="connsiteX0" fmla="*/ 0 w 4659987"/>
              <a:gd name="connsiteY0" fmla="*/ 1247204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47204 h 2157419"/>
              <a:gd name="connsiteX0" fmla="*/ 0 w 4667938"/>
              <a:gd name="connsiteY0" fmla="*/ 1263107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63107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67938"/>
              <a:gd name="connsiteY0" fmla="*/ 1259132 h 2157419"/>
              <a:gd name="connsiteX1" fmla="*/ 3653520 w 4667938"/>
              <a:gd name="connsiteY1" fmla="*/ 0 h 2157419"/>
              <a:gd name="connsiteX2" fmla="*/ 4667938 w 4667938"/>
              <a:gd name="connsiteY2" fmla="*/ 2157419 h 2157419"/>
              <a:gd name="connsiteX3" fmla="*/ 0 w 4667938"/>
              <a:gd name="connsiteY3" fmla="*/ 1259132 h 2157419"/>
              <a:gd name="connsiteX0" fmla="*/ 0 w 4659987"/>
              <a:gd name="connsiteY0" fmla="*/ 1251181 h 2157419"/>
              <a:gd name="connsiteX1" fmla="*/ 3645569 w 4659987"/>
              <a:gd name="connsiteY1" fmla="*/ 0 h 2157419"/>
              <a:gd name="connsiteX2" fmla="*/ 4659987 w 4659987"/>
              <a:gd name="connsiteY2" fmla="*/ 2157419 h 2157419"/>
              <a:gd name="connsiteX3" fmla="*/ 0 w 4659987"/>
              <a:gd name="connsiteY3" fmla="*/ 1251181 h 2157419"/>
              <a:gd name="connsiteX0" fmla="*/ 0 w 4674275"/>
              <a:gd name="connsiteY0" fmla="*/ 1251181 h 2157419"/>
              <a:gd name="connsiteX1" fmla="*/ 3645569 w 4674275"/>
              <a:gd name="connsiteY1" fmla="*/ 0 h 2157419"/>
              <a:gd name="connsiteX2" fmla="*/ 4674275 w 4674275"/>
              <a:gd name="connsiteY2" fmla="*/ 2157419 h 2157419"/>
              <a:gd name="connsiteX3" fmla="*/ 0 w 4674275"/>
              <a:gd name="connsiteY3" fmla="*/ 1251181 h 2157419"/>
              <a:gd name="connsiteX0" fmla="*/ 0 w 4683800"/>
              <a:gd name="connsiteY0" fmla="*/ 1251181 h 2157419"/>
              <a:gd name="connsiteX1" fmla="*/ 3655094 w 4683800"/>
              <a:gd name="connsiteY1" fmla="*/ 0 h 2157419"/>
              <a:gd name="connsiteX2" fmla="*/ 4683800 w 4683800"/>
              <a:gd name="connsiteY2" fmla="*/ 2157419 h 2157419"/>
              <a:gd name="connsiteX3" fmla="*/ 0 w 4683800"/>
              <a:gd name="connsiteY3" fmla="*/ 1251181 h 2157419"/>
              <a:gd name="connsiteX0" fmla="*/ 0 w 4695230"/>
              <a:gd name="connsiteY0" fmla="*/ 1251181 h 2157419"/>
              <a:gd name="connsiteX1" fmla="*/ 3666524 w 4695230"/>
              <a:gd name="connsiteY1" fmla="*/ 0 h 2157419"/>
              <a:gd name="connsiteX2" fmla="*/ 4695230 w 4695230"/>
              <a:gd name="connsiteY2" fmla="*/ 2157419 h 2157419"/>
              <a:gd name="connsiteX3" fmla="*/ 0 w 4695230"/>
              <a:gd name="connsiteY3" fmla="*/ 1251181 h 2157419"/>
              <a:gd name="connsiteX0" fmla="*/ 0 w 4695230"/>
              <a:gd name="connsiteY0" fmla="*/ 1251181 h 2171067"/>
              <a:gd name="connsiteX1" fmla="*/ 3666524 w 4695230"/>
              <a:gd name="connsiteY1" fmla="*/ 0 h 2171067"/>
              <a:gd name="connsiteX2" fmla="*/ 4695230 w 4695230"/>
              <a:gd name="connsiteY2" fmla="*/ 2171067 h 2171067"/>
              <a:gd name="connsiteX3" fmla="*/ 0 w 4695230"/>
              <a:gd name="connsiteY3" fmla="*/ 1251181 h 2171067"/>
              <a:gd name="connsiteX0" fmla="*/ 0 w 4708878"/>
              <a:gd name="connsiteY0" fmla="*/ 1251181 h 2184715"/>
              <a:gd name="connsiteX1" fmla="*/ 3666524 w 4708878"/>
              <a:gd name="connsiteY1" fmla="*/ 0 h 2184715"/>
              <a:gd name="connsiteX2" fmla="*/ 4708878 w 4708878"/>
              <a:gd name="connsiteY2" fmla="*/ 2184715 h 2184715"/>
              <a:gd name="connsiteX3" fmla="*/ 0 w 4708878"/>
              <a:gd name="connsiteY3" fmla="*/ 1251181 h 2184715"/>
              <a:gd name="connsiteX0" fmla="*/ 0 w 4722526"/>
              <a:gd name="connsiteY0" fmla="*/ 1251181 h 2198363"/>
              <a:gd name="connsiteX1" fmla="*/ 3666524 w 4722526"/>
              <a:gd name="connsiteY1" fmla="*/ 0 h 2198363"/>
              <a:gd name="connsiteX2" fmla="*/ 4722526 w 4722526"/>
              <a:gd name="connsiteY2" fmla="*/ 2198363 h 2198363"/>
              <a:gd name="connsiteX3" fmla="*/ 0 w 4722526"/>
              <a:gd name="connsiteY3" fmla="*/ 1251181 h 2198363"/>
              <a:gd name="connsiteX0" fmla="*/ 0 w 4658916"/>
              <a:gd name="connsiteY0" fmla="*/ 1251181 h 2190411"/>
              <a:gd name="connsiteX1" fmla="*/ 3666524 w 4658916"/>
              <a:gd name="connsiteY1" fmla="*/ 0 h 2190411"/>
              <a:gd name="connsiteX2" fmla="*/ 4658916 w 4658916"/>
              <a:gd name="connsiteY2" fmla="*/ 2190411 h 2190411"/>
              <a:gd name="connsiteX3" fmla="*/ 0 w 4658916"/>
              <a:gd name="connsiteY3" fmla="*/ 1251181 h 2190411"/>
              <a:gd name="connsiteX0" fmla="*/ 0 w 4658916"/>
              <a:gd name="connsiteY0" fmla="*/ 1251181 h 2166557"/>
              <a:gd name="connsiteX1" fmla="*/ 3666524 w 4658916"/>
              <a:gd name="connsiteY1" fmla="*/ 0 h 2166557"/>
              <a:gd name="connsiteX2" fmla="*/ 4658916 w 4658916"/>
              <a:gd name="connsiteY2" fmla="*/ 2166557 h 2166557"/>
              <a:gd name="connsiteX3" fmla="*/ 0 w 4658916"/>
              <a:gd name="connsiteY3" fmla="*/ 1251181 h 2166557"/>
              <a:gd name="connsiteX0" fmla="*/ 0 w 4670136"/>
              <a:gd name="connsiteY0" fmla="*/ 1251181 h 2166557"/>
              <a:gd name="connsiteX1" fmla="*/ 3677744 w 4670136"/>
              <a:gd name="connsiteY1" fmla="*/ 0 h 2166557"/>
              <a:gd name="connsiteX2" fmla="*/ 4670136 w 4670136"/>
              <a:gd name="connsiteY2" fmla="*/ 2166557 h 2166557"/>
              <a:gd name="connsiteX3" fmla="*/ 0 w 4670136"/>
              <a:gd name="connsiteY3" fmla="*/ 1251181 h 2166557"/>
              <a:gd name="connsiteX0" fmla="*/ 0 w 4653306"/>
              <a:gd name="connsiteY0" fmla="*/ 1251181 h 2166557"/>
              <a:gd name="connsiteX1" fmla="*/ 3660914 w 4653306"/>
              <a:gd name="connsiteY1" fmla="*/ 0 h 2166557"/>
              <a:gd name="connsiteX2" fmla="*/ 4653306 w 4653306"/>
              <a:gd name="connsiteY2" fmla="*/ 2166557 h 2166557"/>
              <a:gd name="connsiteX3" fmla="*/ 0 w 4653306"/>
              <a:gd name="connsiteY3" fmla="*/ 1251181 h 2166557"/>
              <a:gd name="connsiteX0" fmla="*/ 0 w 4001299"/>
              <a:gd name="connsiteY0" fmla="*/ 869518 h 2166557"/>
              <a:gd name="connsiteX1" fmla="*/ 3008907 w 4001299"/>
              <a:gd name="connsiteY1" fmla="*/ 0 h 2166557"/>
              <a:gd name="connsiteX2" fmla="*/ 4001299 w 4001299"/>
              <a:gd name="connsiteY2" fmla="*/ 2166557 h 2166557"/>
              <a:gd name="connsiteX3" fmla="*/ 0 w 4001299"/>
              <a:gd name="connsiteY3" fmla="*/ 869518 h 2166557"/>
              <a:gd name="connsiteX0" fmla="*/ 0 w 4645354"/>
              <a:gd name="connsiteY0" fmla="*/ 1251181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51181 h 2166557"/>
              <a:gd name="connsiteX0" fmla="*/ 0 w 4645354"/>
              <a:gd name="connsiteY0" fmla="*/ 1243230 h 2166557"/>
              <a:gd name="connsiteX1" fmla="*/ 3652962 w 4645354"/>
              <a:gd name="connsiteY1" fmla="*/ 0 h 2166557"/>
              <a:gd name="connsiteX2" fmla="*/ 4645354 w 4645354"/>
              <a:gd name="connsiteY2" fmla="*/ 2166557 h 2166557"/>
              <a:gd name="connsiteX3" fmla="*/ 0 w 4645354"/>
              <a:gd name="connsiteY3" fmla="*/ 1243230 h 2166557"/>
              <a:gd name="connsiteX0" fmla="*/ 0 w 4645354"/>
              <a:gd name="connsiteY0" fmla="*/ 1238467 h 2161794"/>
              <a:gd name="connsiteX1" fmla="*/ 3664911 w 4645354"/>
              <a:gd name="connsiteY1" fmla="*/ 0 h 2161794"/>
              <a:gd name="connsiteX2" fmla="*/ 4645354 w 4645354"/>
              <a:gd name="connsiteY2" fmla="*/ 2161794 h 2161794"/>
              <a:gd name="connsiteX3" fmla="*/ 0 w 4645354"/>
              <a:gd name="connsiteY3" fmla="*/ 1238467 h 2161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5354" h="2161794">
                <a:moveTo>
                  <a:pt x="0" y="1238467"/>
                </a:moveTo>
                <a:lnTo>
                  <a:pt x="3664911" y="0"/>
                </a:lnTo>
                <a:lnTo>
                  <a:pt x="4645354" y="2161794"/>
                </a:lnTo>
                <a:lnTo>
                  <a:pt x="0" y="1238467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2"/>
              </a:gs>
            </a:gsLst>
            <a:lin ang="3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74" name="Freeform 37">
            <a:extLst>
              <a:ext uri="{FF2B5EF4-FFF2-40B4-BE49-F238E27FC236}">
                <a16:creationId xmlns:a16="http://schemas.microsoft.com/office/drawing/2014/main" id="{A197B678-A2F0-47C4-9D92-D1BB53FE6730}"/>
              </a:ext>
            </a:extLst>
          </p:cNvPr>
          <p:cNvSpPr/>
          <p:nvPr userDrawn="1"/>
        </p:nvSpPr>
        <p:spPr>
          <a:xfrm>
            <a:off x="3541852" y="3007895"/>
            <a:ext cx="2834884" cy="2947737"/>
          </a:xfrm>
          <a:custGeom>
            <a:avLst/>
            <a:gdLst>
              <a:gd name="connsiteX0" fmla="*/ 0 w 2791326"/>
              <a:gd name="connsiteY0" fmla="*/ 1816768 h 2947737"/>
              <a:gd name="connsiteX1" fmla="*/ 493294 w 2791326"/>
              <a:gd name="connsiteY1" fmla="*/ 2947737 h 2947737"/>
              <a:gd name="connsiteX2" fmla="*/ 2791326 w 2791326"/>
              <a:gd name="connsiteY2" fmla="*/ 0 h 2947737"/>
              <a:gd name="connsiteX3" fmla="*/ 0 w 2791326"/>
              <a:gd name="connsiteY3" fmla="*/ 1816768 h 2947737"/>
              <a:gd name="connsiteX0" fmla="*/ 0 w 2799638"/>
              <a:gd name="connsiteY0" fmla="*/ 1845863 h 2947737"/>
              <a:gd name="connsiteX1" fmla="*/ 501606 w 2799638"/>
              <a:gd name="connsiteY1" fmla="*/ 2947737 h 2947737"/>
              <a:gd name="connsiteX2" fmla="*/ 2799638 w 2799638"/>
              <a:gd name="connsiteY2" fmla="*/ 0 h 2947737"/>
              <a:gd name="connsiteX3" fmla="*/ 0 w 2799638"/>
              <a:gd name="connsiteY3" fmla="*/ 1845863 h 2947737"/>
              <a:gd name="connsiteX0" fmla="*/ 0 w 2826933"/>
              <a:gd name="connsiteY0" fmla="*/ 1886806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86806 h 2947737"/>
              <a:gd name="connsiteX0" fmla="*/ 0 w 2826933"/>
              <a:gd name="connsiteY0" fmla="*/ 1859510 h 2947737"/>
              <a:gd name="connsiteX1" fmla="*/ 52890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26933"/>
              <a:gd name="connsiteY0" fmla="*/ 1859510 h 2947737"/>
              <a:gd name="connsiteX1" fmla="*/ 523291 w 2826933"/>
              <a:gd name="connsiteY1" fmla="*/ 2947737 h 2947737"/>
              <a:gd name="connsiteX2" fmla="*/ 2826933 w 2826933"/>
              <a:gd name="connsiteY2" fmla="*/ 0 h 2947737"/>
              <a:gd name="connsiteX3" fmla="*/ 0 w 2826933"/>
              <a:gd name="connsiteY3" fmla="*/ 1859510 h 2947737"/>
              <a:gd name="connsiteX0" fmla="*/ 0 w 2834884"/>
              <a:gd name="connsiteY0" fmla="*/ 1867462 h 2947737"/>
              <a:gd name="connsiteX1" fmla="*/ 531242 w 2834884"/>
              <a:gd name="connsiteY1" fmla="*/ 2947737 h 2947737"/>
              <a:gd name="connsiteX2" fmla="*/ 2834884 w 2834884"/>
              <a:gd name="connsiteY2" fmla="*/ 0 h 2947737"/>
              <a:gd name="connsiteX3" fmla="*/ 0 w 2834884"/>
              <a:gd name="connsiteY3" fmla="*/ 1867462 h 2947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4884" h="2947737">
                <a:moveTo>
                  <a:pt x="0" y="1867462"/>
                </a:moveTo>
                <a:lnTo>
                  <a:pt x="531242" y="2947737"/>
                </a:lnTo>
                <a:lnTo>
                  <a:pt x="2834884" y="0"/>
                </a:lnTo>
                <a:lnTo>
                  <a:pt x="0" y="1867462"/>
                </a:lnTo>
                <a:close/>
              </a:path>
            </a:pathLst>
          </a:custGeom>
          <a:gradFill>
            <a:gsLst>
              <a:gs pos="15000">
                <a:schemeClr val="accent2"/>
              </a:gs>
              <a:gs pos="97000">
                <a:schemeClr val="accent1"/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39" name="Text Placeholder 45">
            <a:extLst>
              <a:ext uri="{FF2B5EF4-FFF2-40B4-BE49-F238E27FC236}">
                <a16:creationId xmlns:a16="http://schemas.microsoft.com/office/drawing/2014/main" id="{8B252A1D-CC01-724F-82EB-AE41A3B6DA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04" y="2743200"/>
            <a:ext cx="8291512" cy="101441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339150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_Outline_Me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 err="1"/>
          </a:p>
        </p:txBody>
      </p:sp>
      <p:sp>
        <p:nvSpPr>
          <p:cNvPr id="11" name="Freeform 5"/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13" name="Object 12">
            <a:extLst>
              <a:ext uri="{FF2B5EF4-FFF2-40B4-BE49-F238E27FC236}">
                <a16:creationId xmlns:a16="http://schemas.microsoft.com/office/drawing/2014/main" id="{EC793130-39E5-E743-A10F-C5C8F3DCE536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554467156"/>
              </p:ext>
            </p:extLst>
          </p:nvPr>
        </p:nvGraphicFramePr>
        <p:xfrm>
          <a:off x="384175" y="6596063"/>
          <a:ext cx="2449513" cy="18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Document" r:id="rId3" imgW="5219700" imgH="406400" progId="Word.Document.12">
                  <p:embed/>
                </p:oleObj>
              </mc:Choice>
              <mc:Fallback>
                <p:oleObj name="Document" r:id="rId3" imgW="5219700" imgH="406400" progId="Word.Document.12">
                  <p:embed/>
                  <p:pic>
                    <p:nvPicPr>
                      <p:cNvPr id="13" name="Object 12">
                        <a:extLst>
                          <a:ext uri="{FF2B5EF4-FFF2-40B4-BE49-F238E27FC236}">
                            <a16:creationId xmlns:a16="http://schemas.microsoft.com/office/drawing/2014/main" id="{EC793130-39E5-E743-A10F-C5C8F3DCE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4175" y="6596063"/>
                        <a:ext cx="2449513" cy="18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B8EA6786-BEF9-694E-B35E-97100D8EFE8C}"/>
              </a:ext>
            </a:extLst>
          </p:cNvPr>
          <p:cNvSpPr/>
          <p:nvPr userDrawn="1"/>
        </p:nvSpPr>
        <p:spPr>
          <a:xfrm>
            <a:off x="-3971" y="0"/>
            <a:ext cx="12192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6" name="Freeform 13">
            <a:extLst>
              <a:ext uri="{FF2B5EF4-FFF2-40B4-BE49-F238E27FC236}">
                <a16:creationId xmlns:a16="http://schemas.microsoft.com/office/drawing/2014/main" id="{EB55A740-BA4F-B24B-BE4A-DB068AF0139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0" y="0"/>
            <a:ext cx="12192000" cy="6858000"/>
          </a:xfrm>
          <a:custGeom>
            <a:avLst/>
            <a:gdLst>
              <a:gd name="T0" fmla="*/ 2387 w 41493"/>
              <a:gd name="T1" fmla="*/ 21597 h 21600"/>
              <a:gd name="T2" fmla="*/ 2397 w 41493"/>
              <a:gd name="T3" fmla="*/ 21586 h 21600"/>
              <a:gd name="T4" fmla="*/ 11784 w 41493"/>
              <a:gd name="T5" fmla="*/ 21592 h 21600"/>
              <a:gd name="T6" fmla="*/ 11793 w 41493"/>
              <a:gd name="T7" fmla="*/ 21598 h 21600"/>
              <a:gd name="T8" fmla="*/ 27618 w 41493"/>
              <a:gd name="T9" fmla="*/ 18789 h 21600"/>
              <a:gd name="T10" fmla="*/ 30124 w 41493"/>
              <a:gd name="T11" fmla="*/ 21600 h 21600"/>
              <a:gd name="T12" fmla="*/ 30147 w 41493"/>
              <a:gd name="T13" fmla="*/ 21589 h 21600"/>
              <a:gd name="T14" fmla="*/ 27685 w 41493"/>
              <a:gd name="T15" fmla="*/ 18799 h 21600"/>
              <a:gd name="T16" fmla="*/ 41480 w 41493"/>
              <a:gd name="T17" fmla="*/ 21598 h 21600"/>
              <a:gd name="T18" fmla="*/ 41489 w 41493"/>
              <a:gd name="T19" fmla="*/ 21590 h 21600"/>
              <a:gd name="T20" fmla="*/ 41493 w 41493"/>
              <a:gd name="T21" fmla="*/ 21583 h 21600"/>
              <a:gd name="T22" fmla="*/ 41492 w 41493"/>
              <a:gd name="T23" fmla="*/ 27 h 21600"/>
              <a:gd name="T24" fmla="*/ 41492 w 41493"/>
              <a:gd name="T25" fmla="*/ 15 h 21600"/>
              <a:gd name="T26" fmla="*/ 41484 w 41493"/>
              <a:gd name="T27" fmla="*/ 5 h 21600"/>
              <a:gd name="T28" fmla="*/ 41476 w 41493"/>
              <a:gd name="T29" fmla="*/ 1 h 21600"/>
              <a:gd name="T30" fmla="*/ 30832 w 41493"/>
              <a:gd name="T31" fmla="*/ 5469 h 21600"/>
              <a:gd name="T32" fmla="*/ 30147 w 41493"/>
              <a:gd name="T33" fmla="*/ 14 h 21600"/>
              <a:gd name="T34" fmla="*/ 30142 w 41493"/>
              <a:gd name="T35" fmla="*/ 6 h 21600"/>
              <a:gd name="T36" fmla="*/ 30131 w 41493"/>
              <a:gd name="T37" fmla="*/ 1 h 21600"/>
              <a:gd name="T38" fmla="*/ 30122 w 41493"/>
              <a:gd name="T39" fmla="*/ 1 h 21600"/>
              <a:gd name="T40" fmla="*/ 19810 w 41493"/>
              <a:gd name="T41" fmla="*/ 21 h 21600"/>
              <a:gd name="T42" fmla="*/ 19798 w 41493"/>
              <a:gd name="T43" fmla="*/ 2 h 21600"/>
              <a:gd name="T44" fmla="*/ 19772 w 41493"/>
              <a:gd name="T45" fmla="*/ 6 h 21600"/>
              <a:gd name="T46" fmla="*/ 4030 w 41493"/>
              <a:gd name="T47" fmla="*/ 2 h 21600"/>
              <a:gd name="T48" fmla="*/ 5 w 41493"/>
              <a:gd name="T49" fmla="*/ 3302 h 21600"/>
              <a:gd name="T50" fmla="*/ 2 w 41493"/>
              <a:gd name="T51" fmla="*/ 3307 h 21600"/>
              <a:gd name="T52" fmla="*/ 2 w 41493"/>
              <a:gd name="T53" fmla="*/ 3321 h 21600"/>
              <a:gd name="T54" fmla="*/ 14 w 41493"/>
              <a:gd name="T55" fmla="*/ 13625 h 21600"/>
              <a:gd name="T56" fmla="*/ 3 w 41493"/>
              <a:gd name="T57" fmla="*/ 13635 h 21600"/>
              <a:gd name="T58" fmla="*/ 2354 w 41493"/>
              <a:gd name="T59" fmla="*/ 21584 h 21600"/>
              <a:gd name="T60" fmla="*/ 2362 w 41493"/>
              <a:gd name="T61" fmla="*/ 21595 h 21600"/>
              <a:gd name="T62" fmla="*/ 11787 w 41493"/>
              <a:gd name="T63" fmla="*/ 21555 h 21600"/>
              <a:gd name="T64" fmla="*/ 11792 w 41493"/>
              <a:gd name="T65" fmla="*/ 21559 h 21600"/>
              <a:gd name="T66" fmla="*/ 11803 w 41493"/>
              <a:gd name="T67" fmla="*/ 21570 h 21600"/>
              <a:gd name="T68" fmla="*/ 41461 w 41493"/>
              <a:gd name="T69" fmla="*/ 21568 h 21600"/>
              <a:gd name="T70" fmla="*/ 41425 w 41493"/>
              <a:gd name="T71" fmla="*/ 21565 h 21600"/>
              <a:gd name="T72" fmla="*/ 15247 w 41493"/>
              <a:gd name="T73" fmla="*/ 14800 h 21600"/>
              <a:gd name="T74" fmla="*/ 41449 w 41493"/>
              <a:gd name="T75" fmla="*/ 21516 h 21600"/>
              <a:gd name="T76" fmla="*/ 29312 w 41493"/>
              <a:gd name="T77" fmla="*/ 15351 h 21600"/>
              <a:gd name="T78" fmla="*/ 15208 w 41493"/>
              <a:gd name="T79" fmla="*/ 14777 h 21600"/>
              <a:gd name="T80" fmla="*/ 49 w 41493"/>
              <a:gd name="T81" fmla="*/ 13655 h 21600"/>
              <a:gd name="T82" fmla="*/ 27639 w 41493"/>
              <a:gd name="T83" fmla="*/ 18773 h 21600"/>
              <a:gd name="T84" fmla="*/ 29273 w 41493"/>
              <a:gd name="T85" fmla="*/ 15330 h 21600"/>
              <a:gd name="T86" fmla="*/ 19837 w 41493"/>
              <a:gd name="T87" fmla="*/ 9489 h 21600"/>
              <a:gd name="T88" fmla="*/ 15233 w 41493"/>
              <a:gd name="T89" fmla="*/ 14741 h 21600"/>
              <a:gd name="T90" fmla="*/ 4039 w 41493"/>
              <a:gd name="T91" fmla="*/ 12076 h 21600"/>
              <a:gd name="T92" fmla="*/ 4039 w 41493"/>
              <a:gd name="T93" fmla="*/ 12075 h 21600"/>
              <a:gd name="T94" fmla="*/ 36689 w 41493"/>
              <a:gd name="T95" fmla="*/ 11484 h 21600"/>
              <a:gd name="T96" fmla="*/ 19817 w 41493"/>
              <a:gd name="T97" fmla="*/ 9512 h 21600"/>
              <a:gd name="T98" fmla="*/ 19794 w 41493"/>
              <a:gd name="T99" fmla="*/ 9487 h 21600"/>
              <a:gd name="T100" fmla="*/ 19784 w 41493"/>
              <a:gd name="T101" fmla="*/ 9485 h 21600"/>
              <a:gd name="T102" fmla="*/ 19794 w 41493"/>
              <a:gd name="T103" fmla="*/ 9483 h 21600"/>
              <a:gd name="T104" fmla="*/ 19814 w 41493"/>
              <a:gd name="T105" fmla="*/ 9469 h 21600"/>
              <a:gd name="T106" fmla="*/ 30050 w 41493"/>
              <a:gd name="T107" fmla="*/ 63 h 21600"/>
              <a:gd name="T108" fmla="*/ 30789 w 41493"/>
              <a:gd name="T109" fmla="*/ 5489 h 21600"/>
              <a:gd name="T110" fmla="*/ 30898 w 41493"/>
              <a:gd name="T111" fmla="*/ 5482 h 21600"/>
              <a:gd name="T112" fmla="*/ 41456 w 41493"/>
              <a:gd name="T113" fmla="*/ 35 h 21600"/>
              <a:gd name="T114" fmla="*/ 30112 w 41493"/>
              <a:gd name="T115" fmla="*/ 29 h 21600"/>
              <a:gd name="T116" fmla="*/ 30112 w 41493"/>
              <a:gd name="T117" fmla="*/ 29 h 21600"/>
              <a:gd name="T118" fmla="*/ 41465 w 41493"/>
              <a:gd name="T119" fmla="*/ 17 h 21600"/>
              <a:gd name="T120" fmla="*/ 41465 w 41493"/>
              <a:gd name="T121" fmla="*/ 17 h 21600"/>
              <a:gd name="T122" fmla="*/ 41475 w 41493"/>
              <a:gd name="T123" fmla="*/ 1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1493" h="21600">
                <a:moveTo>
                  <a:pt x="2376" y="21600"/>
                </a:moveTo>
                <a:lnTo>
                  <a:pt x="2376" y="21600"/>
                </a:lnTo>
                <a:lnTo>
                  <a:pt x="2378" y="21600"/>
                </a:lnTo>
                <a:lnTo>
                  <a:pt x="2378" y="21600"/>
                </a:lnTo>
                <a:lnTo>
                  <a:pt x="2382" y="21599"/>
                </a:lnTo>
                <a:lnTo>
                  <a:pt x="2382" y="21599"/>
                </a:lnTo>
                <a:lnTo>
                  <a:pt x="2387" y="21597"/>
                </a:lnTo>
                <a:lnTo>
                  <a:pt x="2387" y="21597"/>
                </a:lnTo>
                <a:lnTo>
                  <a:pt x="2390" y="21594"/>
                </a:lnTo>
                <a:lnTo>
                  <a:pt x="2390" y="21594"/>
                </a:lnTo>
                <a:lnTo>
                  <a:pt x="2395" y="21590"/>
                </a:lnTo>
                <a:lnTo>
                  <a:pt x="2395" y="21590"/>
                </a:lnTo>
                <a:lnTo>
                  <a:pt x="2397" y="21586"/>
                </a:lnTo>
                <a:lnTo>
                  <a:pt x="2397" y="21586"/>
                </a:lnTo>
                <a:lnTo>
                  <a:pt x="2398" y="21586"/>
                </a:lnTo>
                <a:lnTo>
                  <a:pt x="2399" y="21582"/>
                </a:lnTo>
                <a:lnTo>
                  <a:pt x="4051" y="12119"/>
                </a:lnTo>
                <a:lnTo>
                  <a:pt x="11784" y="21591"/>
                </a:lnTo>
                <a:lnTo>
                  <a:pt x="11784" y="21591"/>
                </a:lnTo>
                <a:lnTo>
                  <a:pt x="11784" y="21592"/>
                </a:lnTo>
                <a:lnTo>
                  <a:pt x="11784" y="21592"/>
                </a:lnTo>
                <a:lnTo>
                  <a:pt x="11785" y="21593"/>
                </a:lnTo>
                <a:lnTo>
                  <a:pt x="11785" y="21593"/>
                </a:lnTo>
                <a:lnTo>
                  <a:pt x="11786" y="21594"/>
                </a:lnTo>
                <a:lnTo>
                  <a:pt x="11786" y="21594"/>
                </a:lnTo>
                <a:lnTo>
                  <a:pt x="11792" y="21598"/>
                </a:lnTo>
                <a:lnTo>
                  <a:pt x="11792" y="21598"/>
                </a:lnTo>
                <a:lnTo>
                  <a:pt x="11793" y="21598"/>
                </a:lnTo>
                <a:lnTo>
                  <a:pt x="11793" y="21598"/>
                </a:lnTo>
                <a:lnTo>
                  <a:pt x="11797" y="21599"/>
                </a:lnTo>
                <a:lnTo>
                  <a:pt x="11797" y="21599"/>
                </a:lnTo>
                <a:lnTo>
                  <a:pt x="11801" y="21600"/>
                </a:lnTo>
                <a:lnTo>
                  <a:pt x="11801" y="21600"/>
                </a:lnTo>
                <a:lnTo>
                  <a:pt x="11806" y="21599"/>
                </a:lnTo>
                <a:lnTo>
                  <a:pt x="27618" y="18789"/>
                </a:lnTo>
                <a:lnTo>
                  <a:pt x="30109" y="21592"/>
                </a:lnTo>
                <a:lnTo>
                  <a:pt x="30109" y="21592"/>
                </a:lnTo>
                <a:lnTo>
                  <a:pt x="30113" y="21595"/>
                </a:lnTo>
                <a:lnTo>
                  <a:pt x="30117" y="21598"/>
                </a:lnTo>
                <a:lnTo>
                  <a:pt x="30120" y="21599"/>
                </a:lnTo>
                <a:lnTo>
                  <a:pt x="30124" y="21600"/>
                </a:lnTo>
                <a:lnTo>
                  <a:pt x="30124" y="21600"/>
                </a:lnTo>
                <a:lnTo>
                  <a:pt x="30129" y="21600"/>
                </a:lnTo>
                <a:lnTo>
                  <a:pt x="30134" y="21599"/>
                </a:lnTo>
                <a:lnTo>
                  <a:pt x="30137" y="21598"/>
                </a:lnTo>
                <a:lnTo>
                  <a:pt x="30141" y="21594"/>
                </a:lnTo>
                <a:lnTo>
                  <a:pt x="30141" y="21594"/>
                </a:lnTo>
                <a:lnTo>
                  <a:pt x="30145" y="21592"/>
                </a:lnTo>
                <a:lnTo>
                  <a:pt x="30147" y="21589"/>
                </a:lnTo>
                <a:lnTo>
                  <a:pt x="30148" y="21584"/>
                </a:lnTo>
                <a:lnTo>
                  <a:pt x="30150" y="21581"/>
                </a:lnTo>
                <a:lnTo>
                  <a:pt x="30150" y="21576"/>
                </a:lnTo>
                <a:lnTo>
                  <a:pt x="30148" y="21573"/>
                </a:lnTo>
                <a:lnTo>
                  <a:pt x="30147" y="21570"/>
                </a:lnTo>
                <a:lnTo>
                  <a:pt x="30145" y="21566"/>
                </a:lnTo>
                <a:lnTo>
                  <a:pt x="27685" y="18799"/>
                </a:lnTo>
                <a:lnTo>
                  <a:pt x="41466" y="21599"/>
                </a:lnTo>
                <a:lnTo>
                  <a:pt x="41466" y="21599"/>
                </a:lnTo>
                <a:lnTo>
                  <a:pt x="41471" y="21600"/>
                </a:lnTo>
                <a:lnTo>
                  <a:pt x="41475" y="21599"/>
                </a:lnTo>
                <a:lnTo>
                  <a:pt x="41475" y="21599"/>
                </a:lnTo>
                <a:lnTo>
                  <a:pt x="41480" y="21598"/>
                </a:lnTo>
                <a:lnTo>
                  <a:pt x="41480" y="21598"/>
                </a:lnTo>
                <a:lnTo>
                  <a:pt x="41484" y="21595"/>
                </a:lnTo>
                <a:lnTo>
                  <a:pt x="41484" y="21595"/>
                </a:lnTo>
                <a:lnTo>
                  <a:pt x="41487" y="21594"/>
                </a:lnTo>
                <a:lnTo>
                  <a:pt x="41487" y="21594"/>
                </a:lnTo>
                <a:lnTo>
                  <a:pt x="41489" y="21591"/>
                </a:lnTo>
                <a:lnTo>
                  <a:pt x="41489" y="21591"/>
                </a:lnTo>
                <a:lnTo>
                  <a:pt x="41489" y="21590"/>
                </a:lnTo>
                <a:lnTo>
                  <a:pt x="41489" y="21590"/>
                </a:lnTo>
                <a:lnTo>
                  <a:pt x="41492" y="21586"/>
                </a:lnTo>
                <a:lnTo>
                  <a:pt x="41492" y="21586"/>
                </a:lnTo>
                <a:lnTo>
                  <a:pt x="41493" y="21584"/>
                </a:lnTo>
                <a:lnTo>
                  <a:pt x="41493" y="21584"/>
                </a:lnTo>
                <a:lnTo>
                  <a:pt x="41493" y="21583"/>
                </a:lnTo>
                <a:lnTo>
                  <a:pt x="41493" y="21583"/>
                </a:lnTo>
                <a:lnTo>
                  <a:pt x="41493" y="21579"/>
                </a:lnTo>
                <a:lnTo>
                  <a:pt x="41493" y="21579"/>
                </a:lnTo>
                <a:lnTo>
                  <a:pt x="41493" y="21574"/>
                </a:lnTo>
                <a:lnTo>
                  <a:pt x="37942" y="5595"/>
                </a:lnTo>
                <a:lnTo>
                  <a:pt x="41491" y="32"/>
                </a:lnTo>
                <a:lnTo>
                  <a:pt x="41491" y="32"/>
                </a:lnTo>
                <a:lnTo>
                  <a:pt x="41492" y="27"/>
                </a:lnTo>
                <a:lnTo>
                  <a:pt x="41492" y="27"/>
                </a:lnTo>
                <a:lnTo>
                  <a:pt x="41493" y="24"/>
                </a:lnTo>
                <a:lnTo>
                  <a:pt x="41493" y="24"/>
                </a:lnTo>
                <a:lnTo>
                  <a:pt x="41493" y="17"/>
                </a:lnTo>
                <a:lnTo>
                  <a:pt x="41493" y="17"/>
                </a:lnTo>
                <a:lnTo>
                  <a:pt x="41492" y="15"/>
                </a:lnTo>
                <a:lnTo>
                  <a:pt x="41492" y="15"/>
                </a:lnTo>
                <a:lnTo>
                  <a:pt x="41491" y="11"/>
                </a:lnTo>
                <a:lnTo>
                  <a:pt x="41491" y="11"/>
                </a:lnTo>
                <a:lnTo>
                  <a:pt x="41489" y="9"/>
                </a:lnTo>
                <a:lnTo>
                  <a:pt x="41489" y="9"/>
                </a:lnTo>
                <a:lnTo>
                  <a:pt x="41487" y="7"/>
                </a:lnTo>
                <a:lnTo>
                  <a:pt x="41487" y="7"/>
                </a:lnTo>
                <a:lnTo>
                  <a:pt x="41484" y="5"/>
                </a:lnTo>
                <a:lnTo>
                  <a:pt x="41484" y="5"/>
                </a:lnTo>
                <a:lnTo>
                  <a:pt x="41482" y="3"/>
                </a:lnTo>
                <a:lnTo>
                  <a:pt x="41482" y="3"/>
                </a:lnTo>
                <a:lnTo>
                  <a:pt x="41478" y="2"/>
                </a:lnTo>
                <a:lnTo>
                  <a:pt x="41478" y="2"/>
                </a:lnTo>
                <a:lnTo>
                  <a:pt x="41476" y="1"/>
                </a:lnTo>
                <a:lnTo>
                  <a:pt x="41476" y="1"/>
                </a:lnTo>
                <a:lnTo>
                  <a:pt x="41472" y="1"/>
                </a:lnTo>
                <a:lnTo>
                  <a:pt x="41469" y="1"/>
                </a:lnTo>
                <a:lnTo>
                  <a:pt x="41469" y="1"/>
                </a:lnTo>
                <a:lnTo>
                  <a:pt x="41466" y="1"/>
                </a:lnTo>
                <a:lnTo>
                  <a:pt x="41466" y="1"/>
                </a:lnTo>
                <a:lnTo>
                  <a:pt x="41460" y="3"/>
                </a:lnTo>
                <a:lnTo>
                  <a:pt x="30832" y="5469"/>
                </a:lnTo>
                <a:lnTo>
                  <a:pt x="30150" y="19"/>
                </a:lnTo>
                <a:lnTo>
                  <a:pt x="30150" y="19"/>
                </a:lnTo>
                <a:lnTo>
                  <a:pt x="30148" y="17"/>
                </a:lnTo>
                <a:lnTo>
                  <a:pt x="30148" y="17"/>
                </a:lnTo>
                <a:lnTo>
                  <a:pt x="30148" y="16"/>
                </a:lnTo>
                <a:lnTo>
                  <a:pt x="30148" y="16"/>
                </a:lnTo>
                <a:lnTo>
                  <a:pt x="30147" y="14"/>
                </a:lnTo>
                <a:lnTo>
                  <a:pt x="30147" y="14"/>
                </a:lnTo>
                <a:lnTo>
                  <a:pt x="30146" y="11"/>
                </a:lnTo>
                <a:lnTo>
                  <a:pt x="30146" y="11"/>
                </a:lnTo>
                <a:lnTo>
                  <a:pt x="30144" y="8"/>
                </a:lnTo>
                <a:lnTo>
                  <a:pt x="30144" y="8"/>
                </a:lnTo>
                <a:lnTo>
                  <a:pt x="30142" y="6"/>
                </a:lnTo>
                <a:lnTo>
                  <a:pt x="30142" y="6"/>
                </a:lnTo>
                <a:lnTo>
                  <a:pt x="30140" y="5"/>
                </a:lnTo>
                <a:lnTo>
                  <a:pt x="30140" y="5"/>
                </a:lnTo>
                <a:lnTo>
                  <a:pt x="30139" y="3"/>
                </a:lnTo>
                <a:lnTo>
                  <a:pt x="30139" y="3"/>
                </a:lnTo>
                <a:lnTo>
                  <a:pt x="30135" y="2"/>
                </a:lnTo>
                <a:lnTo>
                  <a:pt x="30135" y="2"/>
                </a:lnTo>
                <a:lnTo>
                  <a:pt x="30131" y="1"/>
                </a:lnTo>
                <a:lnTo>
                  <a:pt x="30128" y="1"/>
                </a:lnTo>
                <a:lnTo>
                  <a:pt x="30128" y="1"/>
                </a:lnTo>
                <a:lnTo>
                  <a:pt x="30123" y="1"/>
                </a:lnTo>
                <a:lnTo>
                  <a:pt x="30123" y="1"/>
                </a:lnTo>
                <a:lnTo>
                  <a:pt x="30123" y="1"/>
                </a:lnTo>
                <a:lnTo>
                  <a:pt x="30123" y="1"/>
                </a:lnTo>
                <a:lnTo>
                  <a:pt x="30122" y="1"/>
                </a:lnTo>
                <a:lnTo>
                  <a:pt x="15499" y="3802"/>
                </a:lnTo>
                <a:lnTo>
                  <a:pt x="19804" y="36"/>
                </a:lnTo>
                <a:lnTo>
                  <a:pt x="19804" y="36"/>
                </a:lnTo>
                <a:lnTo>
                  <a:pt x="19806" y="33"/>
                </a:lnTo>
                <a:lnTo>
                  <a:pt x="19809" y="29"/>
                </a:lnTo>
                <a:lnTo>
                  <a:pt x="19810" y="26"/>
                </a:lnTo>
                <a:lnTo>
                  <a:pt x="19810" y="21"/>
                </a:lnTo>
                <a:lnTo>
                  <a:pt x="19810" y="18"/>
                </a:lnTo>
                <a:lnTo>
                  <a:pt x="19809" y="14"/>
                </a:lnTo>
                <a:lnTo>
                  <a:pt x="19808" y="10"/>
                </a:lnTo>
                <a:lnTo>
                  <a:pt x="19804" y="7"/>
                </a:lnTo>
                <a:lnTo>
                  <a:pt x="19804" y="7"/>
                </a:lnTo>
                <a:lnTo>
                  <a:pt x="19801" y="5"/>
                </a:lnTo>
                <a:lnTo>
                  <a:pt x="19798" y="2"/>
                </a:lnTo>
                <a:lnTo>
                  <a:pt x="19793" y="1"/>
                </a:lnTo>
                <a:lnTo>
                  <a:pt x="19789" y="0"/>
                </a:lnTo>
                <a:lnTo>
                  <a:pt x="19789" y="0"/>
                </a:lnTo>
                <a:lnTo>
                  <a:pt x="19783" y="1"/>
                </a:lnTo>
                <a:lnTo>
                  <a:pt x="19780" y="2"/>
                </a:lnTo>
                <a:lnTo>
                  <a:pt x="19776" y="3"/>
                </a:lnTo>
                <a:lnTo>
                  <a:pt x="19772" y="6"/>
                </a:lnTo>
                <a:lnTo>
                  <a:pt x="15412" y="3821"/>
                </a:lnTo>
                <a:lnTo>
                  <a:pt x="4045" y="1"/>
                </a:lnTo>
                <a:lnTo>
                  <a:pt x="4045" y="1"/>
                </a:lnTo>
                <a:lnTo>
                  <a:pt x="4040" y="1"/>
                </a:lnTo>
                <a:lnTo>
                  <a:pt x="4040" y="1"/>
                </a:lnTo>
                <a:lnTo>
                  <a:pt x="4034" y="1"/>
                </a:lnTo>
                <a:lnTo>
                  <a:pt x="4030" y="2"/>
                </a:lnTo>
                <a:lnTo>
                  <a:pt x="4030" y="2"/>
                </a:lnTo>
                <a:lnTo>
                  <a:pt x="4026" y="3"/>
                </a:lnTo>
                <a:lnTo>
                  <a:pt x="4026" y="3"/>
                </a:lnTo>
                <a:lnTo>
                  <a:pt x="4023" y="6"/>
                </a:lnTo>
                <a:lnTo>
                  <a:pt x="8" y="3299"/>
                </a:lnTo>
                <a:lnTo>
                  <a:pt x="8" y="3299"/>
                </a:lnTo>
                <a:lnTo>
                  <a:pt x="5" y="3302"/>
                </a:lnTo>
                <a:lnTo>
                  <a:pt x="5" y="3302"/>
                </a:lnTo>
                <a:lnTo>
                  <a:pt x="4" y="3304"/>
                </a:lnTo>
                <a:lnTo>
                  <a:pt x="4" y="3304"/>
                </a:lnTo>
                <a:lnTo>
                  <a:pt x="3" y="3306"/>
                </a:lnTo>
                <a:lnTo>
                  <a:pt x="3" y="3306"/>
                </a:lnTo>
                <a:lnTo>
                  <a:pt x="2" y="3307"/>
                </a:lnTo>
                <a:lnTo>
                  <a:pt x="2" y="3307"/>
                </a:lnTo>
                <a:lnTo>
                  <a:pt x="0" y="3311"/>
                </a:lnTo>
                <a:lnTo>
                  <a:pt x="0" y="3311"/>
                </a:lnTo>
                <a:lnTo>
                  <a:pt x="0" y="3313"/>
                </a:lnTo>
                <a:lnTo>
                  <a:pt x="0" y="3313"/>
                </a:lnTo>
                <a:lnTo>
                  <a:pt x="0" y="3316"/>
                </a:lnTo>
                <a:lnTo>
                  <a:pt x="0" y="3316"/>
                </a:lnTo>
                <a:lnTo>
                  <a:pt x="2" y="3321"/>
                </a:lnTo>
                <a:lnTo>
                  <a:pt x="2" y="3321"/>
                </a:lnTo>
                <a:lnTo>
                  <a:pt x="2" y="3321"/>
                </a:lnTo>
                <a:lnTo>
                  <a:pt x="2" y="3321"/>
                </a:lnTo>
                <a:lnTo>
                  <a:pt x="2" y="3322"/>
                </a:lnTo>
                <a:lnTo>
                  <a:pt x="4008" y="12056"/>
                </a:lnTo>
                <a:lnTo>
                  <a:pt x="14" y="13625"/>
                </a:lnTo>
                <a:lnTo>
                  <a:pt x="14" y="13625"/>
                </a:lnTo>
                <a:lnTo>
                  <a:pt x="10" y="13627"/>
                </a:lnTo>
                <a:lnTo>
                  <a:pt x="7" y="13631"/>
                </a:lnTo>
                <a:lnTo>
                  <a:pt x="7" y="13631"/>
                </a:lnTo>
                <a:lnTo>
                  <a:pt x="3" y="13634"/>
                </a:lnTo>
                <a:lnTo>
                  <a:pt x="15" y="13641"/>
                </a:lnTo>
                <a:lnTo>
                  <a:pt x="3" y="13635"/>
                </a:lnTo>
                <a:lnTo>
                  <a:pt x="3" y="13635"/>
                </a:lnTo>
                <a:lnTo>
                  <a:pt x="2" y="13638"/>
                </a:lnTo>
                <a:lnTo>
                  <a:pt x="2" y="13642"/>
                </a:lnTo>
                <a:lnTo>
                  <a:pt x="2" y="13642"/>
                </a:lnTo>
                <a:lnTo>
                  <a:pt x="0" y="13645"/>
                </a:lnTo>
                <a:lnTo>
                  <a:pt x="2" y="13650"/>
                </a:lnTo>
                <a:lnTo>
                  <a:pt x="2354" y="21584"/>
                </a:lnTo>
                <a:lnTo>
                  <a:pt x="2354" y="21584"/>
                </a:lnTo>
                <a:lnTo>
                  <a:pt x="2358" y="21590"/>
                </a:lnTo>
                <a:lnTo>
                  <a:pt x="2358" y="21590"/>
                </a:lnTo>
                <a:lnTo>
                  <a:pt x="2360" y="21593"/>
                </a:lnTo>
                <a:lnTo>
                  <a:pt x="2360" y="21593"/>
                </a:lnTo>
                <a:lnTo>
                  <a:pt x="2361" y="21594"/>
                </a:lnTo>
                <a:lnTo>
                  <a:pt x="2362" y="21595"/>
                </a:lnTo>
                <a:lnTo>
                  <a:pt x="2362" y="21595"/>
                </a:lnTo>
                <a:lnTo>
                  <a:pt x="2369" y="21598"/>
                </a:lnTo>
                <a:lnTo>
                  <a:pt x="2369" y="21598"/>
                </a:lnTo>
                <a:lnTo>
                  <a:pt x="2372" y="21599"/>
                </a:lnTo>
                <a:lnTo>
                  <a:pt x="2376" y="21600"/>
                </a:lnTo>
                <a:close/>
                <a:moveTo>
                  <a:pt x="11804" y="21574"/>
                </a:moveTo>
                <a:lnTo>
                  <a:pt x="11803" y="21574"/>
                </a:lnTo>
                <a:lnTo>
                  <a:pt x="11787" y="21555"/>
                </a:lnTo>
                <a:lnTo>
                  <a:pt x="11787" y="21555"/>
                </a:lnTo>
                <a:lnTo>
                  <a:pt x="11788" y="21555"/>
                </a:lnTo>
                <a:lnTo>
                  <a:pt x="11788" y="21555"/>
                </a:lnTo>
                <a:lnTo>
                  <a:pt x="11791" y="21554"/>
                </a:lnTo>
                <a:lnTo>
                  <a:pt x="11791" y="21556"/>
                </a:lnTo>
                <a:lnTo>
                  <a:pt x="11791" y="21556"/>
                </a:lnTo>
                <a:lnTo>
                  <a:pt x="11792" y="21559"/>
                </a:lnTo>
                <a:lnTo>
                  <a:pt x="11795" y="21563"/>
                </a:lnTo>
                <a:lnTo>
                  <a:pt x="11798" y="21564"/>
                </a:lnTo>
                <a:lnTo>
                  <a:pt x="11803" y="21565"/>
                </a:lnTo>
                <a:lnTo>
                  <a:pt x="11803" y="21565"/>
                </a:lnTo>
                <a:lnTo>
                  <a:pt x="11803" y="21565"/>
                </a:lnTo>
                <a:lnTo>
                  <a:pt x="11803" y="21565"/>
                </a:lnTo>
                <a:lnTo>
                  <a:pt x="11803" y="21570"/>
                </a:lnTo>
                <a:lnTo>
                  <a:pt x="11804" y="21574"/>
                </a:lnTo>
                <a:lnTo>
                  <a:pt x="11804" y="21574"/>
                </a:lnTo>
                <a:close/>
                <a:moveTo>
                  <a:pt x="41464" y="21566"/>
                </a:moveTo>
                <a:lnTo>
                  <a:pt x="41465" y="21573"/>
                </a:lnTo>
                <a:lnTo>
                  <a:pt x="41455" y="21572"/>
                </a:lnTo>
                <a:lnTo>
                  <a:pt x="41455" y="21572"/>
                </a:lnTo>
                <a:lnTo>
                  <a:pt x="41461" y="21568"/>
                </a:lnTo>
                <a:lnTo>
                  <a:pt x="41461" y="21568"/>
                </a:lnTo>
                <a:lnTo>
                  <a:pt x="41464" y="21566"/>
                </a:lnTo>
                <a:lnTo>
                  <a:pt x="41464" y="21566"/>
                </a:lnTo>
                <a:close/>
                <a:moveTo>
                  <a:pt x="41426" y="21561"/>
                </a:moveTo>
                <a:lnTo>
                  <a:pt x="41442" y="21568"/>
                </a:lnTo>
                <a:lnTo>
                  <a:pt x="41425" y="21565"/>
                </a:lnTo>
                <a:lnTo>
                  <a:pt x="41425" y="21565"/>
                </a:lnTo>
                <a:lnTo>
                  <a:pt x="41426" y="21563"/>
                </a:lnTo>
                <a:lnTo>
                  <a:pt x="41426" y="21563"/>
                </a:lnTo>
                <a:lnTo>
                  <a:pt x="41426" y="21561"/>
                </a:lnTo>
                <a:lnTo>
                  <a:pt x="41426" y="21561"/>
                </a:lnTo>
                <a:close/>
                <a:moveTo>
                  <a:pt x="27540" y="18760"/>
                </a:moveTo>
                <a:lnTo>
                  <a:pt x="11840" y="21550"/>
                </a:lnTo>
                <a:lnTo>
                  <a:pt x="15247" y="14800"/>
                </a:lnTo>
                <a:lnTo>
                  <a:pt x="27540" y="18760"/>
                </a:lnTo>
                <a:close/>
                <a:moveTo>
                  <a:pt x="41452" y="21514"/>
                </a:moveTo>
                <a:lnTo>
                  <a:pt x="41458" y="21541"/>
                </a:lnTo>
                <a:lnTo>
                  <a:pt x="41445" y="21516"/>
                </a:lnTo>
                <a:lnTo>
                  <a:pt x="41445" y="21516"/>
                </a:lnTo>
                <a:lnTo>
                  <a:pt x="41449" y="21516"/>
                </a:lnTo>
                <a:lnTo>
                  <a:pt x="41449" y="21516"/>
                </a:lnTo>
                <a:lnTo>
                  <a:pt x="41452" y="21514"/>
                </a:lnTo>
                <a:lnTo>
                  <a:pt x="41452" y="21514"/>
                </a:lnTo>
                <a:close/>
                <a:moveTo>
                  <a:pt x="36691" y="11559"/>
                </a:moveTo>
                <a:lnTo>
                  <a:pt x="41424" y="21530"/>
                </a:lnTo>
                <a:lnTo>
                  <a:pt x="29347" y="15322"/>
                </a:lnTo>
                <a:lnTo>
                  <a:pt x="36691" y="11559"/>
                </a:lnTo>
                <a:close/>
                <a:moveTo>
                  <a:pt x="29312" y="15351"/>
                </a:moveTo>
                <a:lnTo>
                  <a:pt x="41326" y="21528"/>
                </a:lnTo>
                <a:lnTo>
                  <a:pt x="27658" y="18751"/>
                </a:lnTo>
                <a:lnTo>
                  <a:pt x="29312" y="15351"/>
                </a:lnTo>
                <a:close/>
                <a:moveTo>
                  <a:pt x="15208" y="14777"/>
                </a:moveTo>
                <a:lnTo>
                  <a:pt x="11809" y="21514"/>
                </a:lnTo>
                <a:lnTo>
                  <a:pt x="8508" y="7765"/>
                </a:lnTo>
                <a:lnTo>
                  <a:pt x="15208" y="14777"/>
                </a:lnTo>
                <a:close/>
                <a:moveTo>
                  <a:pt x="8454" y="7734"/>
                </a:moveTo>
                <a:lnTo>
                  <a:pt x="11757" y="21490"/>
                </a:lnTo>
                <a:lnTo>
                  <a:pt x="4067" y="12068"/>
                </a:lnTo>
                <a:lnTo>
                  <a:pt x="8454" y="7734"/>
                </a:lnTo>
                <a:close/>
                <a:moveTo>
                  <a:pt x="4008" y="12101"/>
                </a:moveTo>
                <a:lnTo>
                  <a:pt x="2371" y="21481"/>
                </a:lnTo>
                <a:lnTo>
                  <a:pt x="49" y="13655"/>
                </a:lnTo>
                <a:lnTo>
                  <a:pt x="4008" y="12101"/>
                </a:lnTo>
                <a:close/>
                <a:moveTo>
                  <a:pt x="37919" y="5699"/>
                </a:moveTo>
                <a:lnTo>
                  <a:pt x="41407" y="21391"/>
                </a:lnTo>
                <a:lnTo>
                  <a:pt x="36725" y="11527"/>
                </a:lnTo>
                <a:lnTo>
                  <a:pt x="37919" y="5699"/>
                </a:lnTo>
                <a:close/>
                <a:moveTo>
                  <a:pt x="27639" y="18773"/>
                </a:moveTo>
                <a:lnTo>
                  <a:pt x="27639" y="18773"/>
                </a:lnTo>
                <a:lnTo>
                  <a:pt x="27639" y="18773"/>
                </a:lnTo>
                <a:lnTo>
                  <a:pt x="27639" y="18773"/>
                </a:lnTo>
                <a:lnTo>
                  <a:pt x="27639" y="18773"/>
                </a:lnTo>
                <a:close/>
                <a:moveTo>
                  <a:pt x="29273" y="15330"/>
                </a:moveTo>
                <a:lnTo>
                  <a:pt x="27622" y="18726"/>
                </a:lnTo>
                <a:lnTo>
                  <a:pt x="19892" y="9572"/>
                </a:lnTo>
                <a:lnTo>
                  <a:pt x="29273" y="15330"/>
                </a:lnTo>
                <a:close/>
                <a:moveTo>
                  <a:pt x="19788" y="9517"/>
                </a:moveTo>
                <a:lnTo>
                  <a:pt x="27562" y="18723"/>
                </a:lnTo>
                <a:lnTo>
                  <a:pt x="15272" y="14764"/>
                </a:lnTo>
                <a:lnTo>
                  <a:pt x="19788" y="9517"/>
                </a:lnTo>
                <a:close/>
                <a:moveTo>
                  <a:pt x="30785" y="5535"/>
                </a:moveTo>
                <a:lnTo>
                  <a:pt x="29283" y="15287"/>
                </a:lnTo>
                <a:lnTo>
                  <a:pt x="19837" y="9489"/>
                </a:lnTo>
                <a:lnTo>
                  <a:pt x="30785" y="5535"/>
                </a:lnTo>
                <a:close/>
                <a:moveTo>
                  <a:pt x="36667" y="11525"/>
                </a:moveTo>
                <a:lnTo>
                  <a:pt x="29330" y="15284"/>
                </a:lnTo>
                <a:lnTo>
                  <a:pt x="30828" y="5550"/>
                </a:lnTo>
                <a:lnTo>
                  <a:pt x="36667" y="11525"/>
                </a:lnTo>
                <a:close/>
                <a:moveTo>
                  <a:pt x="19747" y="9499"/>
                </a:moveTo>
                <a:lnTo>
                  <a:pt x="15233" y="14741"/>
                </a:lnTo>
                <a:lnTo>
                  <a:pt x="8526" y="7721"/>
                </a:lnTo>
                <a:lnTo>
                  <a:pt x="19747" y="9499"/>
                </a:lnTo>
                <a:close/>
                <a:moveTo>
                  <a:pt x="22366" y="12542"/>
                </a:moveTo>
                <a:lnTo>
                  <a:pt x="22362" y="12544"/>
                </a:lnTo>
                <a:lnTo>
                  <a:pt x="22366" y="12542"/>
                </a:lnTo>
                <a:close/>
                <a:moveTo>
                  <a:pt x="4039" y="12076"/>
                </a:moveTo>
                <a:lnTo>
                  <a:pt x="4039" y="12076"/>
                </a:lnTo>
                <a:lnTo>
                  <a:pt x="4039" y="12076"/>
                </a:lnTo>
                <a:lnTo>
                  <a:pt x="4039" y="12076"/>
                </a:lnTo>
                <a:lnTo>
                  <a:pt x="4035" y="12072"/>
                </a:lnTo>
                <a:lnTo>
                  <a:pt x="4035" y="12072"/>
                </a:lnTo>
                <a:lnTo>
                  <a:pt x="4036" y="12071"/>
                </a:lnTo>
                <a:lnTo>
                  <a:pt x="4036" y="12071"/>
                </a:lnTo>
                <a:lnTo>
                  <a:pt x="4039" y="12075"/>
                </a:lnTo>
                <a:lnTo>
                  <a:pt x="4039" y="12076"/>
                </a:lnTo>
                <a:close/>
                <a:moveTo>
                  <a:pt x="8431" y="7696"/>
                </a:moveTo>
                <a:lnTo>
                  <a:pt x="4045" y="12030"/>
                </a:lnTo>
                <a:lnTo>
                  <a:pt x="70" y="3362"/>
                </a:lnTo>
                <a:lnTo>
                  <a:pt x="8431" y="7696"/>
                </a:lnTo>
                <a:close/>
                <a:moveTo>
                  <a:pt x="37891" y="5612"/>
                </a:moveTo>
                <a:lnTo>
                  <a:pt x="36689" y="11484"/>
                </a:lnTo>
                <a:lnTo>
                  <a:pt x="30865" y="5524"/>
                </a:lnTo>
                <a:lnTo>
                  <a:pt x="37891" y="5612"/>
                </a:lnTo>
                <a:close/>
                <a:moveTo>
                  <a:pt x="19821" y="9509"/>
                </a:moveTo>
                <a:lnTo>
                  <a:pt x="19821" y="9509"/>
                </a:lnTo>
                <a:lnTo>
                  <a:pt x="19820" y="9510"/>
                </a:lnTo>
                <a:lnTo>
                  <a:pt x="19820" y="9510"/>
                </a:lnTo>
                <a:lnTo>
                  <a:pt x="19817" y="9512"/>
                </a:lnTo>
                <a:lnTo>
                  <a:pt x="19809" y="9501"/>
                </a:lnTo>
                <a:lnTo>
                  <a:pt x="19821" y="9509"/>
                </a:lnTo>
                <a:close/>
                <a:moveTo>
                  <a:pt x="19794" y="9483"/>
                </a:moveTo>
                <a:lnTo>
                  <a:pt x="19794" y="9483"/>
                </a:lnTo>
                <a:lnTo>
                  <a:pt x="19794" y="9484"/>
                </a:lnTo>
                <a:lnTo>
                  <a:pt x="19794" y="9484"/>
                </a:lnTo>
                <a:lnTo>
                  <a:pt x="19794" y="9487"/>
                </a:lnTo>
                <a:lnTo>
                  <a:pt x="19794" y="9487"/>
                </a:lnTo>
                <a:lnTo>
                  <a:pt x="19788" y="9484"/>
                </a:lnTo>
                <a:lnTo>
                  <a:pt x="19788" y="9484"/>
                </a:lnTo>
                <a:lnTo>
                  <a:pt x="19784" y="9485"/>
                </a:lnTo>
                <a:lnTo>
                  <a:pt x="19784" y="9485"/>
                </a:lnTo>
                <a:lnTo>
                  <a:pt x="19784" y="9485"/>
                </a:lnTo>
                <a:lnTo>
                  <a:pt x="19784" y="9485"/>
                </a:lnTo>
                <a:lnTo>
                  <a:pt x="19782" y="9482"/>
                </a:lnTo>
                <a:lnTo>
                  <a:pt x="19782" y="9482"/>
                </a:lnTo>
                <a:lnTo>
                  <a:pt x="19784" y="9483"/>
                </a:lnTo>
                <a:lnTo>
                  <a:pt x="19788" y="9483"/>
                </a:lnTo>
                <a:lnTo>
                  <a:pt x="19788" y="9483"/>
                </a:lnTo>
                <a:lnTo>
                  <a:pt x="19792" y="9483"/>
                </a:lnTo>
                <a:lnTo>
                  <a:pt x="19794" y="9483"/>
                </a:lnTo>
                <a:lnTo>
                  <a:pt x="19794" y="9483"/>
                </a:lnTo>
                <a:close/>
                <a:moveTo>
                  <a:pt x="19815" y="9470"/>
                </a:moveTo>
                <a:lnTo>
                  <a:pt x="19806" y="9473"/>
                </a:lnTo>
                <a:lnTo>
                  <a:pt x="19814" y="9466"/>
                </a:lnTo>
                <a:lnTo>
                  <a:pt x="19814" y="9466"/>
                </a:lnTo>
                <a:lnTo>
                  <a:pt x="19814" y="9469"/>
                </a:lnTo>
                <a:lnTo>
                  <a:pt x="19814" y="9469"/>
                </a:lnTo>
                <a:lnTo>
                  <a:pt x="19815" y="9470"/>
                </a:lnTo>
                <a:lnTo>
                  <a:pt x="19815" y="9470"/>
                </a:lnTo>
                <a:close/>
                <a:moveTo>
                  <a:pt x="15411" y="3873"/>
                </a:moveTo>
                <a:lnTo>
                  <a:pt x="19738" y="9455"/>
                </a:lnTo>
                <a:lnTo>
                  <a:pt x="8531" y="7680"/>
                </a:lnTo>
                <a:lnTo>
                  <a:pt x="15411" y="3873"/>
                </a:lnTo>
                <a:close/>
                <a:moveTo>
                  <a:pt x="30050" y="63"/>
                </a:moveTo>
                <a:lnTo>
                  <a:pt x="19790" y="9452"/>
                </a:lnTo>
                <a:lnTo>
                  <a:pt x="15455" y="3857"/>
                </a:lnTo>
                <a:lnTo>
                  <a:pt x="30050" y="63"/>
                </a:lnTo>
                <a:close/>
                <a:moveTo>
                  <a:pt x="30789" y="5489"/>
                </a:moveTo>
                <a:lnTo>
                  <a:pt x="19881" y="9428"/>
                </a:lnTo>
                <a:lnTo>
                  <a:pt x="30109" y="66"/>
                </a:lnTo>
                <a:lnTo>
                  <a:pt x="30789" y="5489"/>
                </a:lnTo>
                <a:close/>
                <a:moveTo>
                  <a:pt x="15341" y="3863"/>
                </a:moveTo>
                <a:lnTo>
                  <a:pt x="8467" y="7667"/>
                </a:lnTo>
                <a:lnTo>
                  <a:pt x="115" y="3338"/>
                </a:lnTo>
                <a:lnTo>
                  <a:pt x="15341" y="3863"/>
                </a:lnTo>
                <a:close/>
                <a:moveTo>
                  <a:pt x="41409" y="77"/>
                </a:moveTo>
                <a:lnTo>
                  <a:pt x="37906" y="5571"/>
                </a:lnTo>
                <a:lnTo>
                  <a:pt x="30898" y="5482"/>
                </a:lnTo>
                <a:lnTo>
                  <a:pt x="41409" y="77"/>
                </a:lnTo>
                <a:close/>
                <a:moveTo>
                  <a:pt x="4042" y="45"/>
                </a:moveTo>
                <a:lnTo>
                  <a:pt x="15275" y="3819"/>
                </a:lnTo>
                <a:lnTo>
                  <a:pt x="80" y="3295"/>
                </a:lnTo>
                <a:lnTo>
                  <a:pt x="4042" y="45"/>
                </a:lnTo>
                <a:close/>
                <a:moveTo>
                  <a:pt x="41459" y="33"/>
                </a:moveTo>
                <a:lnTo>
                  <a:pt x="41456" y="35"/>
                </a:lnTo>
                <a:lnTo>
                  <a:pt x="41456" y="35"/>
                </a:lnTo>
                <a:lnTo>
                  <a:pt x="41456" y="35"/>
                </a:lnTo>
                <a:lnTo>
                  <a:pt x="41456" y="35"/>
                </a:lnTo>
                <a:lnTo>
                  <a:pt x="41455" y="34"/>
                </a:lnTo>
                <a:lnTo>
                  <a:pt x="41459" y="33"/>
                </a:lnTo>
                <a:close/>
                <a:moveTo>
                  <a:pt x="30112" y="29"/>
                </a:moveTo>
                <a:lnTo>
                  <a:pt x="30112" y="29"/>
                </a:lnTo>
                <a:lnTo>
                  <a:pt x="30111" y="30"/>
                </a:lnTo>
                <a:lnTo>
                  <a:pt x="30108" y="33"/>
                </a:lnTo>
                <a:lnTo>
                  <a:pt x="30108" y="33"/>
                </a:lnTo>
                <a:lnTo>
                  <a:pt x="30107" y="32"/>
                </a:lnTo>
                <a:lnTo>
                  <a:pt x="30107" y="32"/>
                </a:lnTo>
                <a:lnTo>
                  <a:pt x="30107" y="30"/>
                </a:lnTo>
                <a:lnTo>
                  <a:pt x="30112" y="29"/>
                </a:lnTo>
                <a:close/>
                <a:moveTo>
                  <a:pt x="30123" y="26"/>
                </a:moveTo>
                <a:lnTo>
                  <a:pt x="30123" y="27"/>
                </a:lnTo>
                <a:lnTo>
                  <a:pt x="30123" y="27"/>
                </a:lnTo>
                <a:lnTo>
                  <a:pt x="30122" y="27"/>
                </a:lnTo>
                <a:lnTo>
                  <a:pt x="30123" y="26"/>
                </a:lnTo>
                <a:close/>
                <a:moveTo>
                  <a:pt x="41465" y="17"/>
                </a:move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close/>
                <a:moveTo>
                  <a:pt x="41465" y="17"/>
                </a:move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lnTo>
                  <a:pt x="41465" y="17"/>
                </a:lnTo>
                <a:close/>
                <a:moveTo>
                  <a:pt x="30135" y="17"/>
                </a:moveTo>
                <a:lnTo>
                  <a:pt x="30134" y="17"/>
                </a:lnTo>
                <a:lnTo>
                  <a:pt x="30135" y="17"/>
                </a:lnTo>
                <a:close/>
                <a:moveTo>
                  <a:pt x="41475" y="1"/>
                </a:moveTo>
                <a:lnTo>
                  <a:pt x="41475" y="1"/>
                </a:lnTo>
                <a:lnTo>
                  <a:pt x="41475" y="1"/>
                </a:lnTo>
                <a:lnTo>
                  <a:pt x="41475" y="1"/>
                </a:lnTo>
                <a:lnTo>
                  <a:pt x="41475" y="1"/>
                </a:lnTo>
                <a:lnTo>
                  <a:pt x="41475" y="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 Placeholder 45">
            <a:extLst>
              <a:ext uri="{FF2B5EF4-FFF2-40B4-BE49-F238E27FC236}">
                <a16:creationId xmlns:a16="http://schemas.microsoft.com/office/drawing/2014/main" id="{D0D1EE6D-469F-462B-9911-DEA659FA0C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4904" y="2743200"/>
            <a:ext cx="8291512" cy="101441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003765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Image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-24858" y="0"/>
            <a:ext cx="12216858" cy="685800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AEDBC8-358F-B145-8493-0D2E0FC86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176" y="853131"/>
            <a:ext cx="11126788" cy="2198688"/>
          </a:xfrm>
        </p:spPr>
        <p:txBody>
          <a:bodyPr/>
          <a:lstStyle>
            <a:lvl1pPr>
              <a:defRPr sz="6000" b="0" i="0">
                <a:solidFill>
                  <a:schemeClr val="bg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2899458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_Image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-24858" y="0"/>
            <a:ext cx="12216858" cy="6858000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AEDBC8-358F-B145-8493-0D2E0FC86B6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7176" y="853131"/>
            <a:ext cx="11126788" cy="2198688"/>
          </a:xfrm>
        </p:spPr>
        <p:txBody>
          <a:bodyPr/>
          <a:lstStyle>
            <a:lvl1pPr>
              <a:defRPr sz="6000" b="0" i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</p:spTree>
    <p:extLst>
      <p:ext uri="{BB962C8B-B14F-4D97-AF65-F5344CB8AC3E}">
        <p14:creationId xmlns:p14="http://schemas.microsoft.com/office/powerpoint/2010/main" val="149616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34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401638" marR="0" indent="-2190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0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23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45720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587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8964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1295401"/>
            <a:ext cx="5715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62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82137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525463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525463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 marL="342900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2pPr>
            <a:lvl3pPr marL="525463" marR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203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80999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8412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1295401"/>
            <a:ext cx="379476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295401"/>
            <a:ext cx="3803904" cy="4953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295401"/>
            <a:ext cx="3794760" cy="4953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7660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379412" y="384048"/>
            <a:ext cx="3794760" cy="5861304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384048"/>
            <a:ext cx="3803904" cy="58613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384048"/>
            <a:ext cx="3794760" cy="58613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5894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190B00-69E6-4E58-9B8F-B2CF2D288452}"/>
              </a:ext>
            </a:extLst>
          </p:cNvPr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grpSp>
        <p:nvGrpSpPr>
          <p:cNvPr id="6" name="Group 22">
            <a:extLst>
              <a:ext uri="{FF2B5EF4-FFF2-40B4-BE49-F238E27FC236}">
                <a16:creationId xmlns:a16="http://schemas.microsoft.com/office/drawing/2014/main" id="{77F5A628-124C-44C8-9015-F8B0F0569C5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-264086" y="6596401"/>
            <a:ext cx="2147228" cy="184155"/>
            <a:chOff x="9374212" y="6574531"/>
            <a:chExt cx="2147228" cy="18288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B55432D-2BE3-498A-A4B4-F484058B602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9" name="Footer Placeholder 3">
                <a:extLst>
                  <a:ext uri="{FF2B5EF4-FFF2-40B4-BE49-F238E27FC236}">
                    <a16:creationId xmlns:a16="http://schemas.microsoft.com/office/drawing/2014/main" id="{3B0F4141-0B76-4652-BC37-8EF3E5DED409}"/>
                  </a:ext>
                </a:extLst>
              </p:cNvPr>
              <p:cNvSpPr txBox="1">
                <a:spLocks/>
              </p:cNvSpPr>
              <p:nvPr userDrawn="1"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0" name="TextBox 25">
                <a:extLst>
                  <a:ext uri="{FF2B5EF4-FFF2-40B4-BE49-F238E27FC236}">
                    <a16:creationId xmlns:a16="http://schemas.microsoft.com/office/drawing/2014/main" id="{D9268A71-4465-45F2-BDDB-375749EEA18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25 April 2022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1" name="Rectangle 26">
                <a:extLst>
                  <a:ext uri="{FF2B5EF4-FFF2-40B4-BE49-F238E27FC236}">
                    <a16:creationId xmlns:a16="http://schemas.microsoft.com/office/drawing/2014/main" id="{CB2DEB24-B983-4B5B-938A-95287E1CD8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8" name="TextBox 24">
              <a:extLst>
                <a:ext uri="{FF2B5EF4-FFF2-40B4-BE49-F238E27FC236}">
                  <a16:creationId xmlns:a16="http://schemas.microsoft.com/office/drawing/2014/main" id="{77E7EA1E-D725-44EC-BC87-2FF343EE1A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3" name="Freeform 5">
            <a:extLst>
              <a:ext uri="{FF2B5EF4-FFF2-40B4-BE49-F238E27FC236}">
                <a16:creationId xmlns:a16="http://schemas.microsoft.com/office/drawing/2014/main" id="{5693F7B3-B732-4CCF-A5D5-9F2EA2D23C8D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7751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01638" indent="-21907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961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700" r:id="rId4"/>
    <p:sldLayoutId id="2147483702" r:id="rId5"/>
    <p:sldLayoutId id="2147483720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14325" indent="-1317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3075" indent="-1158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42938" indent="-1031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multimedia.3m.com/mws/media/2180968O/3m-psd-4000plus-promo.pdf" TargetMode="Externa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37.png"/><Relationship Id="rId2" Type="http://schemas.openxmlformats.org/officeDocument/2006/relationships/hyperlink" Target="https://multimedia.3m.com/mws/media/2180970O/3m-psd-4000plus-promo.pdf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svg"/><Relationship Id="rId5" Type="http://schemas.openxmlformats.org/officeDocument/2006/relationships/image" Target="../media/image39.png"/><Relationship Id="rId4" Type="http://schemas.openxmlformats.org/officeDocument/2006/relationships/image" Target="../media/image43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46.png"/><Relationship Id="rId7" Type="http://schemas.openxmlformats.org/officeDocument/2006/relationships/image" Target="../media/image39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3.svg"/><Relationship Id="rId5" Type="http://schemas.openxmlformats.org/officeDocument/2006/relationships/image" Target="../media/image41.png"/><Relationship Id="rId4" Type="http://schemas.openxmlformats.org/officeDocument/2006/relationships/hyperlink" Target="http://gpimmediacollections.3m.com/dmrweb/servlet/Album?albumId=5820514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gpimmediacollections.3m.com/dmrweb/servlet/Album?albumId=5820514" TargetMode="External"/><Relationship Id="rId7" Type="http://schemas.openxmlformats.org/officeDocument/2006/relationships/image" Target="../media/image12.png"/><Relationship Id="rId2" Type="http://schemas.openxmlformats.org/officeDocument/2006/relationships/hyperlink" Target="https://engage.3m.com/channel_asset_generator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jpeg"/><Relationship Id="rId5" Type="http://schemas.openxmlformats.org/officeDocument/2006/relationships/image" Target="../media/image43.sv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hyperlink" Target="http://gpimmediacollections.3m.com/dmrweb/servlet/Album?albumId=5820514" TargetMode="External"/><Relationship Id="rId7" Type="http://schemas.openxmlformats.org/officeDocument/2006/relationships/image" Target="../media/image12.png"/><Relationship Id="rId2" Type="http://schemas.openxmlformats.org/officeDocument/2006/relationships/hyperlink" Target="https://engage.3m.com/channel_asset_generator" TargetMode="Externa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jpeg"/><Relationship Id="rId5" Type="http://schemas.openxmlformats.org/officeDocument/2006/relationships/image" Target="../media/image43.svg"/><Relationship Id="rId4" Type="http://schemas.openxmlformats.org/officeDocument/2006/relationships/image" Target="../media/image41.png"/><Relationship Id="rId9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multimedia.3m.com/mws/media/2180963O/3m-psd-4000plus-promo.pdf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3.svg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s://multimedia.3m.com/mws/media/2180962O/3m-psd-4000plus-promo.pdf" TargetMode="Externa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0.png"/><Relationship Id="rId4" Type="http://schemas.openxmlformats.org/officeDocument/2006/relationships/image" Target="../media/image43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multimedia.3m.com/mws/media/2181461O/3m-psd-rr-4000plus-promo.pdf" TargetMode="External"/><Relationship Id="rId2" Type="http://schemas.openxmlformats.org/officeDocument/2006/relationships/image" Target="../media/image51.tmp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3.svg"/><Relationship Id="rId4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://gpimmediacollections.3m.com/dmrweb/servlet/Album?albumId=5820997" TargetMode="External"/><Relationship Id="rId3" Type="http://schemas.openxmlformats.org/officeDocument/2006/relationships/hyperlink" Target="http://gpimmediacollections.3m.com/dmrweb/servlet/Album?albumId=5821021" TargetMode="External"/><Relationship Id="rId7" Type="http://schemas.openxmlformats.org/officeDocument/2006/relationships/hyperlink" Target="http://gpimmediacollections.3m.com/dmrweb/servlet/Album?albumId=5821026" TargetMode="External"/><Relationship Id="rId2" Type="http://schemas.openxmlformats.org/officeDocument/2006/relationships/hyperlink" Target="http://gpimmediacollections.3m.com/dmrweb/servlet/Album?albumId=5820514" TargetMode="Externa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://gpimmediacollections.3m.com/dmrweb/servlet/Album?albumId=5821025" TargetMode="External"/><Relationship Id="rId5" Type="http://schemas.openxmlformats.org/officeDocument/2006/relationships/hyperlink" Target="http://gpimmediacollections.3m.com/dmrweb/servlet/Album?albumId=5821022" TargetMode="External"/><Relationship Id="rId4" Type="http://schemas.openxmlformats.org/officeDocument/2006/relationships/hyperlink" Target="http://gpimmediacollections.3m.com/dmrweb/servlet/Album?albumId=5821023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20.png"/><Relationship Id="rId18" Type="http://schemas.openxmlformats.org/officeDocument/2006/relationships/image" Target="../media/image32.png"/><Relationship Id="rId3" Type="http://schemas.openxmlformats.org/officeDocument/2006/relationships/image" Target="../media/image24.svg"/><Relationship Id="rId21" Type="http://schemas.openxmlformats.org/officeDocument/2006/relationships/image" Target="../media/image8.png"/><Relationship Id="rId7" Type="http://schemas.openxmlformats.org/officeDocument/2006/relationships/image" Target="../media/image28.png"/><Relationship Id="rId12" Type="http://schemas.openxmlformats.org/officeDocument/2006/relationships/image" Target="../media/image19.svg"/><Relationship Id="rId17" Type="http://schemas.openxmlformats.org/officeDocument/2006/relationships/image" Target="../media/image31.svg"/><Relationship Id="rId2" Type="http://schemas.openxmlformats.org/officeDocument/2006/relationships/image" Target="../media/image23.png"/><Relationship Id="rId16" Type="http://schemas.openxmlformats.org/officeDocument/2006/relationships/image" Target="../media/image30.png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png"/><Relationship Id="rId11" Type="http://schemas.openxmlformats.org/officeDocument/2006/relationships/image" Target="../media/image18.png"/><Relationship Id="rId5" Type="http://schemas.openxmlformats.org/officeDocument/2006/relationships/image" Target="../media/image26.svg"/><Relationship Id="rId15" Type="http://schemas.openxmlformats.org/officeDocument/2006/relationships/image" Target="../media/image15.jpeg"/><Relationship Id="rId23" Type="http://schemas.openxmlformats.org/officeDocument/2006/relationships/image" Target="../media/image10.png"/><Relationship Id="rId10" Type="http://schemas.openxmlformats.org/officeDocument/2006/relationships/image" Target="../media/image17.svg"/><Relationship Id="rId19" Type="http://schemas.openxmlformats.org/officeDocument/2006/relationships/image" Target="../media/image33.png"/><Relationship Id="rId4" Type="http://schemas.openxmlformats.org/officeDocument/2006/relationships/image" Target="../media/image25.png"/><Relationship Id="rId9" Type="http://schemas.openxmlformats.org/officeDocument/2006/relationships/image" Target="../media/image16.png"/><Relationship Id="rId14" Type="http://schemas.openxmlformats.org/officeDocument/2006/relationships/image" Target="../media/image21.svg"/><Relationship Id="rId22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A320560-59DF-44B6-A74E-6CDA94EFAF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1545" y="4371703"/>
            <a:ext cx="11468909" cy="819896"/>
          </a:xfrm>
        </p:spPr>
        <p:txBody>
          <a:bodyPr/>
          <a:lstStyle/>
          <a:p>
            <a:r>
              <a:rPr lang="en-GB" dirty="0"/>
              <a:t>4000+ Reboot &amp; Wi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BA3B0F4-3C45-4D9D-981E-AB351B46E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545" y="5280006"/>
            <a:ext cx="10114866" cy="480462"/>
          </a:xfrm>
        </p:spPr>
        <p:txBody>
          <a:bodyPr/>
          <a:lstStyle/>
          <a:p>
            <a:r>
              <a:rPr lang="en-GB" dirty="0"/>
              <a:t>3M PSD Gold Programme 2022, Channel Partner Toolkit</a:t>
            </a:r>
          </a:p>
        </p:txBody>
      </p:sp>
    </p:spTree>
    <p:extLst>
      <p:ext uri="{BB962C8B-B14F-4D97-AF65-F5344CB8AC3E}">
        <p14:creationId xmlns:p14="http://schemas.microsoft.com/office/powerpoint/2010/main" val="297073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D2FE5-C5F9-4DC6-8621-389FCCF0E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ze Draw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B0CC1A-8C9A-45C0-969F-F2562DA0A53C}"/>
              </a:ext>
            </a:extLst>
          </p:cNvPr>
          <p:cNvSpPr txBox="1"/>
          <p:nvPr/>
        </p:nvSpPr>
        <p:spPr>
          <a:xfrm>
            <a:off x="387351" y="1045592"/>
            <a:ext cx="11351803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The prize draw opens on the 1</a:t>
            </a:r>
            <a:r>
              <a:rPr lang="en-GB" baseline="30000" dirty="0">
                <a:cs typeface="3M Circular TT Light" panose="020B0404020101020102" pitchFamily="34" charset="0"/>
              </a:rPr>
              <a:t>st</a:t>
            </a:r>
            <a:r>
              <a:rPr lang="en-GB" dirty="0">
                <a:cs typeface="3M Circular TT Light" panose="020B0404020101020102" pitchFamily="34" charset="0"/>
              </a:rPr>
              <a:t> June 2022 and closes on the 30</a:t>
            </a:r>
            <a:r>
              <a:rPr lang="en-GB" baseline="30000" dirty="0">
                <a:cs typeface="3M Circular TT Light" panose="020B0404020101020102" pitchFamily="34" charset="0"/>
              </a:rPr>
              <a:t>th</a:t>
            </a:r>
            <a:r>
              <a:rPr lang="en-GB" dirty="0">
                <a:cs typeface="3M Circular TT Light" panose="020B0404020101020102" pitchFamily="34" charset="0"/>
              </a:rPr>
              <a:t> November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cs typeface="3M Circular TT Light" panose="020B0404020101020102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The prize draw entries, selection of the winner &amp; fulfilment of the prizes will be manged by 3M.  Channel partners are not required to take any a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dirty="0">
              <a:cs typeface="3M Circular TT Light" panose="020B0404020101020102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For full terms &amp; conditions, please see - </a:t>
            </a:r>
            <a:r>
              <a:rPr lang="en-GB" b="1" dirty="0">
                <a:cs typeface="3M Circular TT Light" panose="020B0404020101020102" pitchFamily="34" charset="0"/>
              </a:rPr>
              <a:t>www.4000pluspromotion.3m.com/termsandcondi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D4DF31-233E-412A-98A7-C13636349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1932" y="3310172"/>
            <a:ext cx="3542639" cy="250223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9060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04ACFB-36E3-46E6-BB84-1F585F2AFD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arketing Assets</a:t>
            </a:r>
          </a:p>
        </p:txBody>
      </p:sp>
    </p:spTree>
    <p:extLst>
      <p:ext uri="{BB962C8B-B14F-4D97-AF65-F5344CB8AC3E}">
        <p14:creationId xmlns:p14="http://schemas.microsoft.com/office/powerpoint/2010/main" val="917147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motional leafle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EDB3B8-8AEF-4F3E-945E-0B73C96CED95}"/>
              </a:ext>
            </a:extLst>
          </p:cNvPr>
          <p:cNvSpPr txBox="1"/>
          <p:nvPr/>
        </p:nvSpPr>
        <p:spPr>
          <a:xfrm>
            <a:off x="6414643" y="1203960"/>
            <a:ext cx="4923917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cs typeface="3M Circular Bold" panose="020B0804020101010102" pitchFamily="34" charset="0"/>
              </a:rPr>
              <a:t>Suggested us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Direct mail to target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Make available in-store for customers to coll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Include within packaging when shipping associated products (e.g. abrasives or solvent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Inside sales tool</a:t>
            </a:r>
          </a:p>
          <a:p>
            <a:endParaRPr lang="en-GB" dirty="0">
              <a:cs typeface="3M Circular TT Light" panose="020B0404020101020102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61CBF3-F655-45C1-8CC1-D54DC29EF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13" y="917580"/>
            <a:ext cx="2426067" cy="3429000"/>
          </a:xfrm>
          <a:prstGeom prst="rect">
            <a:avLst/>
          </a:prstGeom>
          <a:solidFill>
            <a:srgbClr val="FF0000"/>
          </a:solidFill>
          <a:ln>
            <a:solidFill>
              <a:srgbClr val="FFC000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4D2F688-45EC-4F54-9B81-1B7001CA46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2770" y="1858803"/>
            <a:ext cx="2893820" cy="4086225"/>
          </a:xfrm>
          <a:prstGeom prst="rect">
            <a:avLst/>
          </a:prstGeom>
          <a:solidFill>
            <a:srgbClr val="FF0000"/>
          </a:solidFill>
          <a:ln>
            <a:solidFill>
              <a:srgbClr val="FFC000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72D96C0-8043-4B92-9170-27CAF13EEAD5}"/>
              </a:ext>
            </a:extLst>
          </p:cNvPr>
          <p:cNvSpPr txBox="1"/>
          <p:nvPr/>
        </p:nvSpPr>
        <p:spPr>
          <a:xfrm>
            <a:off x="7373566" y="5266318"/>
            <a:ext cx="443108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/>
              <a:t>Tip: Click the white boxes to insert your own logo and the blue boxes to insert contact details</a:t>
            </a:r>
          </a:p>
          <a:p>
            <a:endParaRPr lang="en-GB" sz="1600" dirty="0"/>
          </a:p>
          <a:p>
            <a:r>
              <a:rPr lang="en-GB" sz="1200" dirty="0"/>
              <a:t>Also available with crop marks for printing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29C7EED-0E83-4B7D-A3BE-A0B2132899DD}"/>
              </a:ext>
            </a:extLst>
          </p:cNvPr>
          <p:cNvGrpSpPr/>
          <p:nvPr/>
        </p:nvGrpSpPr>
        <p:grpSpPr>
          <a:xfrm>
            <a:off x="6389913" y="5241588"/>
            <a:ext cx="822960" cy="822960"/>
            <a:chOff x="6012280" y="4550924"/>
            <a:chExt cx="1189568" cy="1189568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0C3D357-2FC4-42BB-BC85-A73A972A0B73}"/>
                </a:ext>
              </a:extLst>
            </p:cNvPr>
            <p:cNvSpPr/>
            <p:nvPr/>
          </p:nvSpPr>
          <p:spPr>
            <a:xfrm>
              <a:off x="6012280" y="4550924"/>
              <a:ext cx="1189568" cy="1189568"/>
            </a:xfrm>
            <a:prstGeom prst="ellipse">
              <a:avLst/>
            </a:prstGeom>
            <a:solidFill>
              <a:srgbClr val="FF99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5" name="Graphic 14" descr="Exclamation mark">
              <a:extLst>
                <a:ext uri="{FF2B5EF4-FFF2-40B4-BE49-F238E27FC236}">
                  <a16:creationId xmlns:a16="http://schemas.microsoft.com/office/drawing/2014/main" id="{873D862D-D4B1-44B2-B011-1CC58FBA43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48027" y="4586671"/>
              <a:ext cx="1118074" cy="1118074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DDF3DFB-4CA6-43A7-A7C4-CD0035FAB11A}"/>
              </a:ext>
            </a:extLst>
          </p:cNvPr>
          <p:cNvGrpSpPr/>
          <p:nvPr/>
        </p:nvGrpSpPr>
        <p:grpSpPr>
          <a:xfrm>
            <a:off x="6389913" y="3889380"/>
            <a:ext cx="2839317" cy="914400"/>
            <a:chOff x="6389913" y="3889380"/>
            <a:chExt cx="2839317" cy="914400"/>
          </a:xfrm>
        </p:grpSpPr>
        <p:sp>
          <p:nvSpPr>
            <p:cNvPr id="18" name="Rectangle 17">
              <a:hlinkClick r:id="rId6"/>
              <a:extLst>
                <a:ext uri="{FF2B5EF4-FFF2-40B4-BE49-F238E27FC236}">
                  <a16:creationId xmlns:a16="http://schemas.microsoft.com/office/drawing/2014/main" id="{2E74E81C-8C80-4E03-85A7-AD76C86988B5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20" name="Graphic 19" descr="Download">
              <a:extLst>
                <a:ext uri="{FF2B5EF4-FFF2-40B4-BE49-F238E27FC236}">
                  <a16:creationId xmlns:a16="http://schemas.microsoft.com/office/drawing/2014/main" id="{1DECE6DE-27C7-4B8B-9A32-E9F0894B9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4A97EA1-11CD-4CEF-B0B9-1206E0782E9A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1206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int Adver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EDB3B8-8AEF-4F3E-945E-0B73C96CED95}"/>
              </a:ext>
            </a:extLst>
          </p:cNvPr>
          <p:cNvSpPr txBox="1"/>
          <p:nvPr/>
        </p:nvSpPr>
        <p:spPr>
          <a:xfrm>
            <a:off x="6303150" y="1548415"/>
            <a:ext cx="585216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cs typeface="3M Circular TT Light" panose="020B0404020101020102" pitchFamily="34" charset="0"/>
              </a:rPr>
              <a:t>Suggested us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Seasonal catalogue p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In-store poster or countertop signag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C3CF7AF-C505-4A7E-A543-025AC403E971}"/>
              </a:ext>
            </a:extLst>
          </p:cNvPr>
          <p:cNvGrpSpPr/>
          <p:nvPr/>
        </p:nvGrpSpPr>
        <p:grpSpPr>
          <a:xfrm>
            <a:off x="6389913" y="2874737"/>
            <a:ext cx="2839317" cy="914400"/>
            <a:chOff x="6389913" y="3889380"/>
            <a:chExt cx="2839317" cy="914400"/>
          </a:xfrm>
        </p:grpSpPr>
        <p:sp>
          <p:nvSpPr>
            <p:cNvPr id="9" name="Rectangle 8">
              <a:hlinkClick r:id="rId2"/>
              <a:extLst>
                <a:ext uri="{FF2B5EF4-FFF2-40B4-BE49-F238E27FC236}">
                  <a16:creationId xmlns:a16="http://schemas.microsoft.com/office/drawing/2014/main" id="{EFA5CA64-4CB0-4D75-B14E-7A64B7CE9FCF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0" name="Graphic 9" descr="Download">
              <a:extLst>
                <a:ext uri="{FF2B5EF4-FFF2-40B4-BE49-F238E27FC236}">
                  <a16:creationId xmlns:a16="http://schemas.microsoft.com/office/drawing/2014/main" id="{562D27B8-45E5-4FA1-9AEB-4365F90E2AE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261B1FF-583B-4EA5-A104-FEDEB7AE58BE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C6E4A52-A760-493E-9820-EB43B367741F}"/>
              </a:ext>
            </a:extLst>
          </p:cNvPr>
          <p:cNvSpPr txBox="1"/>
          <p:nvPr/>
        </p:nvSpPr>
        <p:spPr>
          <a:xfrm>
            <a:off x="7373566" y="5266318"/>
            <a:ext cx="443108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/>
              <a:t>Tip: Click the white boxes to insert your own logo and the blue boxes to insert contact details</a:t>
            </a:r>
          </a:p>
          <a:p>
            <a:endParaRPr lang="en-GB" sz="1600" dirty="0"/>
          </a:p>
          <a:p>
            <a:r>
              <a:rPr lang="en-GB" sz="1200" dirty="0"/>
              <a:t>Also available with crop marks for print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00F0A0C-F099-4D29-BC68-4F7AD6212F36}"/>
              </a:ext>
            </a:extLst>
          </p:cNvPr>
          <p:cNvGrpSpPr/>
          <p:nvPr/>
        </p:nvGrpSpPr>
        <p:grpSpPr>
          <a:xfrm>
            <a:off x="6389913" y="5241588"/>
            <a:ext cx="822960" cy="822960"/>
            <a:chOff x="6012280" y="4550924"/>
            <a:chExt cx="1189568" cy="118956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1A90C4E-6A39-4052-91C5-AC462599AB30}"/>
                </a:ext>
              </a:extLst>
            </p:cNvPr>
            <p:cNvSpPr/>
            <p:nvPr/>
          </p:nvSpPr>
          <p:spPr>
            <a:xfrm>
              <a:off x="6012280" y="4550924"/>
              <a:ext cx="1189568" cy="1189568"/>
            </a:xfrm>
            <a:prstGeom prst="ellipse">
              <a:avLst/>
            </a:prstGeom>
            <a:solidFill>
              <a:srgbClr val="FF99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5" name="Graphic 14" descr="Exclamation mark">
              <a:extLst>
                <a:ext uri="{FF2B5EF4-FFF2-40B4-BE49-F238E27FC236}">
                  <a16:creationId xmlns:a16="http://schemas.microsoft.com/office/drawing/2014/main" id="{DD93AF7E-D833-4519-B59F-9F261961FA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48027" y="4586671"/>
              <a:ext cx="1118074" cy="1118074"/>
            </a:xfrm>
            <a:prstGeom prst="rect">
              <a:avLst/>
            </a:prstGeom>
          </p:spPr>
        </p:pic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1A40E8A0-D020-4E2C-95D0-9D37AD38FE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831" y="1340744"/>
            <a:ext cx="3256586" cy="4602855"/>
          </a:xfrm>
          <a:prstGeom prst="rect">
            <a:avLst/>
          </a:prstGeom>
          <a:solidFill>
            <a:srgbClr val="FF0000"/>
          </a:solidFill>
          <a:ln>
            <a:solidFill>
              <a:srgbClr val="FFC000"/>
            </a:solidFill>
          </a:ln>
        </p:spPr>
      </p:pic>
    </p:spTree>
    <p:extLst>
      <p:ext uri="{BB962C8B-B14F-4D97-AF65-F5344CB8AC3E}">
        <p14:creationId xmlns:p14="http://schemas.microsoft.com/office/powerpoint/2010/main" val="1265432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b banners </a:t>
            </a:r>
            <a:r>
              <a:rPr lang="en-US" sz="1600" dirty="0"/>
              <a:t>(250 x 250, 600 x 300, 1200 X 600)</a:t>
            </a:r>
            <a:br>
              <a:rPr lang="en-US" sz="32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</a:b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EDB3B8-8AEF-4F3E-945E-0B73C96CED95}"/>
              </a:ext>
            </a:extLst>
          </p:cNvPr>
          <p:cNvSpPr txBox="1"/>
          <p:nvPr/>
        </p:nvSpPr>
        <p:spPr>
          <a:xfrm>
            <a:off x="5486401" y="1203960"/>
            <a:ext cx="5852160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cs typeface="3M Circular TT Light" panose="020B0404020101020102" pitchFamily="34" charset="0"/>
              </a:rPr>
              <a:t>Suggested us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Use as paid med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Host on eCommerce site – homepage or relevant product pag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F7A9AAA-5712-4A3B-A2E4-C7BA2FA4AE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351" y="965892"/>
            <a:ext cx="3706238" cy="18611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6AC1EA-6CF6-4035-925E-E1BF1E3CCB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351" y="2996118"/>
            <a:ext cx="2708012" cy="2714017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0DE68ADF-24D9-4603-8E33-7B0ACBBD7B23}"/>
              </a:ext>
            </a:extLst>
          </p:cNvPr>
          <p:cNvGrpSpPr/>
          <p:nvPr/>
        </p:nvGrpSpPr>
        <p:grpSpPr>
          <a:xfrm>
            <a:off x="5768483" y="2874737"/>
            <a:ext cx="2839317" cy="914400"/>
            <a:chOff x="6389913" y="3889380"/>
            <a:chExt cx="2839317" cy="914400"/>
          </a:xfrm>
        </p:grpSpPr>
        <p:sp>
          <p:nvSpPr>
            <p:cNvPr id="12" name="Rectangle 11">
              <a:hlinkClick r:id="rId4"/>
              <a:extLst>
                <a:ext uri="{FF2B5EF4-FFF2-40B4-BE49-F238E27FC236}">
                  <a16:creationId xmlns:a16="http://schemas.microsoft.com/office/drawing/2014/main" id="{64BBBEEC-F580-4436-8857-6C3DF77A5898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3" name="Graphic 12" descr="Download">
              <a:extLst>
                <a:ext uri="{FF2B5EF4-FFF2-40B4-BE49-F238E27FC236}">
                  <a16:creationId xmlns:a16="http://schemas.microsoft.com/office/drawing/2014/main" id="{832C5557-B4BF-4D8D-95B8-D5D57093A9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AEAC79D-46D4-48D2-9E5A-F583F8ACE38C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158A3EB2-7D42-48D5-9865-9E1B58A83B18}"/>
              </a:ext>
            </a:extLst>
          </p:cNvPr>
          <p:cNvSpPr txBox="1"/>
          <p:nvPr/>
        </p:nvSpPr>
        <p:spPr>
          <a:xfrm>
            <a:off x="7373566" y="5266318"/>
            <a:ext cx="443108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/>
              <a:t>Tip: Click the white boxes to insert your own logo and the blue boxes to insert contact details</a:t>
            </a:r>
          </a:p>
          <a:p>
            <a:endParaRPr lang="en-GB" sz="1600" dirty="0"/>
          </a:p>
          <a:p>
            <a:r>
              <a:rPr lang="en-GB" sz="1200" dirty="0"/>
              <a:t>Also available as JPG files.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378DA90-EBA0-4573-8F34-1C86DD4CDEB6}"/>
              </a:ext>
            </a:extLst>
          </p:cNvPr>
          <p:cNvGrpSpPr/>
          <p:nvPr/>
        </p:nvGrpSpPr>
        <p:grpSpPr>
          <a:xfrm>
            <a:off x="6389913" y="5241588"/>
            <a:ext cx="822960" cy="822960"/>
            <a:chOff x="6012280" y="4550924"/>
            <a:chExt cx="1189568" cy="1189568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6D8324B-A10B-4965-8BA9-F5A0A8EB1ED5}"/>
                </a:ext>
              </a:extLst>
            </p:cNvPr>
            <p:cNvSpPr/>
            <p:nvPr/>
          </p:nvSpPr>
          <p:spPr>
            <a:xfrm>
              <a:off x="6012280" y="4550924"/>
              <a:ext cx="1189568" cy="1189568"/>
            </a:xfrm>
            <a:prstGeom prst="ellipse">
              <a:avLst/>
            </a:prstGeom>
            <a:solidFill>
              <a:srgbClr val="FF99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8" name="Graphic 17" descr="Exclamation mark">
              <a:extLst>
                <a:ext uri="{FF2B5EF4-FFF2-40B4-BE49-F238E27FC236}">
                  <a16:creationId xmlns:a16="http://schemas.microsoft.com/office/drawing/2014/main" id="{0BDF9259-9F8C-4597-B130-2E97F44487C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48027" y="4586671"/>
              <a:ext cx="1118074" cy="11180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165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ail Asset Pack</a:t>
            </a:r>
            <a:br>
              <a:rPr lang="en-US" sz="32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</a:b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154CE70-3D76-4233-A46F-672D752571CD}"/>
              </a:ext>
            </a:extLst>
          </p:cNvPr>
          <p:cNvSpPr txBox="1"/>
          <p:nvPr/>
        </p:nvSpPr>
        <p:spPr>
          <a:xfrm>
            <a:off x="5477051" y="2003178"/>
            <a:ext cx="632759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/>
              <a:t>A selection of product and application images are available for you to use in own channel partner emails.</a:t>
            </a:r>
          </a:p>
          <a:p>
            <a:endParaRPr lang="en-GB" sz="2000" dirty="0"/>
          </a:p>
          <a:p>
            <a:r>
              <a:rPr lang="en-GB" sz="2000" dirty="0"/>
              <a:t>Please refer to the </a:t>
            </a:r>
            <a:r>
              <a:rPr lang="en-GB" sz="2000" dirty="0">
                <a:hlinkClick r:id="rId2"/>
              </a:rPr>
              <a:t>3M Channel Asset Generator </a:t>
            </a:r>
            <a:r>
              <a:rPr lang="en-GB" sz="2000" dirty="0"/>
              <a:t>to ensure branding compliance.  </a:t>
            </a:r>
          </a:p>
          <a:p>
            <a:endParaRPr lang="en-GB" sz="2000" dirty="0"/>
          </a:p>
          <a:p>
            <a:r>
              <a:rPr lang="en-GB" sz="2000" dirty="0"/>
              <a:t>Suggested email text can be downloaded from the collection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DD9B8C4-567B-495F-BAB7-9BB704922FA0}"/>
              </a:ext>
            </a:extLst>
          </p:cNvPr>
          <p:cNvGrpSpPr/>
          <p:nvPr/>
        </p:nvGrpSpPr>
        <p:grpSpPr>
          <a:xfrm>
            <a:off x="5477051" y="4807409"/>
            <a:ext cx="3881355" cy="914400"/>
            <a:chOff x="6389913" y="3889380"/>
            <a:chExt cx="3881355" cy="914400"/>
          </a:xfrm>
        </p:grpSpPr>
        <p:sp>
          <p:nvSpPr>
            <p:cNvPr id="7" name="Rectangle 6">
              <a:hlinkClick r:id="rId3"/>
              <a:extLst>
                <a:ext uri="{FF2B5EF4-FFF2-40B4-BE49-F238E27FC236}">
                  <a16:creationId xmlns:a16="http://schemas.microsoft.com/office/drawing/2014/main" id="{1385F298-8DDD-4FE4-83D7-B107684548AF}"/>
                </a:ext>
              </a:extLst>
            </p:cNvPr>
            <p:cNvSpPr/>
            <p:nvPr/>
          </p:nvSpPr>
          <p:spPr>
            <a:xfrm>
              <a:off x="6389913" y="3935100"/>
              <a:ext cx="3881355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8" name="Graphic 7" descr="Download">
              <a:extLst>
                <a:ext uri="{FF2B5EF4-FFF2-40B4-BE49-F238E27FC236}">
                  <a16:creationId xmlns:a16="http://schemas.microsoft.com/office/drawing/2014/main" id="{AD116567-2595-4835-ADF4-9B17B8AC3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E6739C4-D827-41C2-BA12-D9AD57A42293}"/>
                </a:ext>
              </a:extLst>
            </p:cNvPr>
            <p:cNvSpPr txBox="1"/>
            <p:nvPr/>
          </p:nvSpPr>
          <p:spPr>
            <a:xfrm>
              <a:off x="7373566" y="4212116"/>
              <a:ext cx="276678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ACCESS COLLECTION</a:t>
              </a:r>
            </a:p>
          </p:txBody>
        </p:sp>
      </p:grpSp>
      <p:pic>
        <p:nvPicPr>
          <p:cNvPr id="58370" name="Picture 2" descr="Marketing Asset Generator">
            <a:extLst>
              <a:ext uri="{FF2B5EF4-FFF2-40B4-BE49-F238E27FC236}">
                <a16:creationId xmlns:a16="http://schemas.microsoft.com/office/drawing/2014/main" id="{812C9E68-1FA1-4296-85C1-98545BC5B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32" y="1070817"/>
            <a:ext cx="4022724" cy="2681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70DB58-C0C0-4D62-93A3-FB75190E90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715" y="4370042"/>
            <a:ext cx="2522879" cy="15388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DC57CC-6857-46DB-A846-9612A665D84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6047"/>
          <a:stretch/>
        </p:blipFill>
        <p:spPr>
          <a:xfrm>
            <a:off x="2747180" y="4491782"/>
            <a:ext cx="2305334" cy="1295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491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cial Media Asset Pack</a:t>
            </a:r>
            <a:br>
              <a:rPr lang="en-US" sz="32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</a:b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5DBA31-95F4-4776-A5B9-AB3542F80C98}"/>
              </a:ext>
            </a:extLst>
          </p:cNvPr>
          <p:cNvSpPr txBox="1"/>
          <p:nvPr/>
        </p:nvSpPr>
        <p:spPr>
          <a:xfrm>
            <a:off x="5495010" y="1630910"/>
            <a:ext cx="632759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/>
              <a:t>A selection of product and application images are available for you to use in own channel partner emails.</a:t>
            </a:r>
          </a:p>
          <a:p>
            <a:endParaRPr lang="en-GB" sz="2000" dirty="0"/>
          </a:p>
          <a:p>
            <a:r>
              <a:rPr lang="en-GB" sz="2000" dirty="0"/>
              <a:t>Please refer to the </a:t>
            </a:r>
            <a:r>
              <a:rPr lang="en-GB" sz="2000" dirty="0">
                <a:hlinkClick r:id="rId2"/>
              </a:rPr>
              <a:t>3M Channel Asset Generator </a:t>
            </a:r>
            <a:r>
              <a:rPr lang="en-GB" sz="2000" dirty="0"/>
              <a:t>to ensure branding compliance.  </a:t>
            </a:r>
          </a:p>
          <a:p>
            <a:endParaRPr lang="en-GB" sz="2000" dirty="0"/>
          </a:p>
          <a:p>
            <a:r>
              <a:rPr lang="en-GB" sz="2000" dirty="0"/>
              <a:t>Suggested social media text can be downloaded from the collection.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B0DCA30-8415-4FEF-B1D0-3798E7311AF1}"/>
              </a:ext>
            </a:extLst>
          </p:cNvPr>
          <p:cNvGrpSpPr/>
          <p:nvPr/>
        </p:nvGrpSpPr>
        <p:grpSpPr>
          <a:xfrm>
            <a:off x="5477051" y="4807409"/>
            <a:ext cx="3881355" cy="914400"/>
            <a:chOff x="6389913" y="3889380"/>
            <a:chExt cx="3881355" cy="914400"/>
          </a:xfrm>
        </p:grpSpPr>
        <p:sp>
          <p:nvSpPr>
            <p:cNvPr id="7" name="Rectangle 6">
              <a:hlinkClick r:id="rId3"/>
              <a:extLst>
                <a:ext uri="{FF2B5EF4-FFF2-40B4-BE49-F238E27FC236}">
                  <a16:creationId xmlns:a16="http://schemas.microsoft.com/office/drawing/2014/main" id="{5963E405-FC29-45EA-8E7C-CB3A8C4CE58D}"/>
                </a:ext>
              </a:extLst>
            </p:cNvPr>
            <p:cNvSpPr/>
            <p:nvPr/>
          </p:nvSpPr>
          <p:spPr>
            <a:xfrm>
              <a:off x="6389913" y="3935100"/>
              <a:ext cx="3881355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8" name="Graphic 7" descr="Download">
              <a:extLst>
                <a:ext uri="{FF2B5EF4-FFF2-40B4-BE49-F238E27FC236}">
                  <a16:creationId xmlns:a16="http://schemas.microsoft.com/office/drawing/2014/main" id="{93C187C2-8064-4DD7-AF76-544E0AF12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70B0A98-473A-48F0-87CD-EC220824F44E}"/>
                </a:ext>
              </a:extLst>
            </p:cNvPr>
            <p:cNvSpPr txBox="1"/>
            <p:nvPr/>
          </p:nvSpPr>
          <p:spPr>
            <a:xfrm>
              <a:off x="7373566" y="4212116"/>
              <a:ext cx="2766783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ACCESS COLLECTION</a:t>
              </a:r>
            </a:p>
          </p:txBody>
        </p:sp>
      </p:grpSp>
      <p:pic>
        <p:nvPicPr>
          <p:cNvPr id="10" name="Picture 2" descr="Marketing Asset Generator">
            <a:extLst>
              <a:ext uri="{FF2B5EF4-FFF2-40B4-BE49-F238E27FC236}">
                <a16:creationId xmlns:a16="http://schemas.microsoft.com/office/drawing/2014/main" id="{794EA322-A905-4AE8-B4EF-CB11439619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32" y="1070817"/>
            <a:ext cx="4022724" cy="2681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7532CED-3DD4-4F3A-9B10-6D51F5A072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715" y="4370042"/>
            <a:ext cx="2522879" cy="153888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6B1B7EC-4E29-4BFE-8E86-6BE99E6AD50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6047"/>
          <a:stretch/>
        </p:blipFill>
        <p:spPr>
          <a:xfrm>
            <a:off x="2747180" y="4491782"/>
            <a:ext cx="2305334" cy="129540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B159F6D-884E-40C2-9111-A9AF4495896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87740" y="2690635"/>
            <a:ext cx="2664774" cy="147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211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duct Sti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EDB3B8-8AEF-4F3E-945E-0B73C96CED95}"/>
              </a:ext>
            </a:extLst>
          </p:cNvPr>
          <p:cNvSpPr txBox="1"/>
          <p:nvPr/>
        </p:nvSpPr>
        <p:spPr>
          <a:xfrm>
            <a:off x="5486401" y="1203960"/>
            <a:ext cx="585216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cs typeface="3M Circular TT Light" panose="020B0404020101020102" pitchFamily="34" charset="0"/>
              </a:rPr>
              <a:t>Suggested us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Apply to promotional packs used in in-store display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FC494C-DE1C-4F2B-90E1-8D715CF2BE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085" t="4646" r="5556" b="3995"/>
          <a:stretch/>
        </p:blipFill>
        <p:spPr>
          <a:xfrm>
            <a:off x="671242" y="1583623"/>
            <a:ext cx="3910486" cy="3876297"/>
          </a:xfrm>
          <a:prstGeom prst="ellipse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6F5E6BA-DEE5-4FB7-9F23-4DEE4F40D2D6}"/>
              </a:ext>
            </a:extLst>
          </p:cNvPr>
          <p:cNvGrpSpPr/>
          <p:nvPr/>
        </p:nvGrpSpPr>
        <p:grpSpPr>
          <a:xfrm>
            <a:off x="5768483" y="2874737"/>
            <a:ext cx="2839317" cy="914400"/>
            <a:chOff x="6389913" y="3889380"/>
            <a:chExt cx="2839317" cy="914400"/>
          </a:xfrm>
        </p:grpSpPr>
        <p:sp>
          <p:nvSpPr>
            <p:cNvPr id="9" name="Rectangle 8">
              <a:hlinkClick r:id="rId3"/>
              <a:extLst>
                <a:ext uri="{FF2B5EF4-FFF2-40B4-BE49-F238E27FC236}">
                  <a16:creationId xmlns:a16="http://schemas.microsoft.com/office/drawing/2014/main" id="{8582E77F-5AD5-4F8E-918F-E64354A80D22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0" name="Graphic 9" descr="Download">
              <a:extLst>
                <a:ext uri="{FF2B5EF4-FFF2-40B4-BE49-F238E27FC236}">
                  <a16:creationId xmlns:a16="http://schemas.microsoft.com/office/drawing/2014/main" id="{27898B0B-D3E4-44FC-93DF-2C465351F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117234-A70E-4D30-A436-A3822E00F537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5463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516530-947E-40E5-8080-69ED4C270F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helf bar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EDB3B8-8AEF-4F3E-945E-0B73C96CED95}"/>
              </a:ext>
            </a:extLst>
          </p:cNvPr>
          <p:cNvSpPr txBox="1"/>
          <p:nvPr/>
        </p:nvSpPr>
        <p:spPr>
          <a:xfrm>
            <a:off x="5486401" y="1203960"/>
            <a:ext cx="585216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cs typeface="3M Circular TT Light" panose="020B0404020101020102" pitchFamily="34" charset="0"/>
              </a:rPr>
              <a:t>Suggested us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Apply to shelving in in-store display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3322C62-02E2-40AF-80E4-B9C15F67DB6D}"/>
              </a:ext>
            </a:extLst>
          </p:cNvPr>
          <p:cNvGrpSpPr/>
          <p:nvPr/>
        </p:nvGrpSpPr>
        <p:grpSpPr>
          <a:xfrm>
            <a:off x="5768483" y="2874737"/>
            <a:ext cx="2839317" cy="914400"/>
            <a:chOff x="6389913" y="3889380"/>
            <a:chExt cx="2839317" cy="914400"/>
          </a:xfrm>
        </p:grpSpPr>
        <p:sp>
          <p:nvSpPr>
            <p:cNvPr id="9" name="Rectangle 8">
              <a:hlinkClick r:id="rId2"/>
              <a:extLst>
                <a:ext uri="{FF2B5EF4-FFF2-40B4-BE49-F238E27FC236}">
                  <a16:creationId xmlns:a16="http://schemas.microsoft.com/office/drawing/2014/main" id="{FC61577C-2EF3-43A6-8FB6-3965979234A5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10" name="Graphic 9" descr="Download">
              <a:extLst>
                <a:ext uri="{FF2B5EF4-FFF2-40B4-BE49-F238E27FC236}">
                  <a16:creationId xmlns:a16="http://schemas.microsoft.com/office/drawing/2014/main" id="{5D5B4640-5CEF-4A4A-84F4-361CCE05E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D529E63-36A4-45BE-8D07-C6715466DAE6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119A6708-DB85-4C99-B133-A4EB988F422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625" t="3404" r="3388" b="3688"/>
          <a:stretch/>
        </p:blipFill>
        <p:spPr>
          <a:xfrm>
            <a:off x="590469" y="1143182"/>
            <a:ext cx="4429844" cy="4416358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346380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657AF5-526F-408D-AEF8-E123AAB68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side Sales Call Scri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F59429-9293-4B60-86DB-09E8D3FDB9FB}"/>
              </a:ext>
            </a:extLst>
          </p:cNvPr>
          <p:cNvSpPr txBox="1"/>
          <p:nvPr/>
        </p:nvSpPr>
        <p:spPr>
          <a:xfrm>
            <a:off x="5781675" y="1724025"/>
            <a:ext cx="570864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/>
              <a:t>A useful guide for 3M employees and channel partner sales teams with key points when talking with end users. </a:t>
            </a: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41869E28-13B8-43AC-9058-CF50729DD0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450" y="1413341"/>
            <a:ext cx="3080255" cy="4371975"/>
          </a:xfrm>
          <a:prstGeom prst="rect">
            <a:avLst/>
          </a:prstGeom>
          <a:ln>
            <a:solidFill>
              <a:srgbClr val="FFC000"/>
            </a:solidFill>
          </a:ln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B05E3153-EBAB-44EC-A199-61E4C4D26104}"/>
              </a:ext>
            </a:extLst>
          </p:cNvPr>
          <p:cNvGrpSpPr/>
          <p:nvPr/>
        </p:nvGrpSpPr>
        <p:grpSpPr>
          <a:xfrm>
            <a:off x="5768483" y="2874737"/>
            <a:ext cx="2839317" cy="914400"/>
            <a:chOff x="6389913" y="3889380"/>
            <a:chExt cx="2839317" cy="914400"/>
          </a:xfrm>
        </p:grpSpPr>
        <p:sp>
          <p:nvSpPr>
            <p:cNvPr id="8" name="Rectangle 7">
              <a:hlinkClick r:id="rId3"/>
              <a:extLst>
                <a:ext uri="{FF2B5EF4-FFF2-40B4-BE49-F238E27FC236}">
                  <a16:creationId xmlns:a16="http://schemas.microsoft.com/office/drawing/2014/main" id="{F3F3D45D-43DB-4E64-BC34-A239BBEAB7CD}"/>
                </a:ext>
              </a:extLst>
            </p:cNvPr>
            <p:cNvSpPr/>
            <p:nvPr/>
          </p:nvSpPr>
          <p:spPr>
            <a:xfrm>
              <a:off x="6389913" y="3935100"/>
              <a:ext cx="2839317" cy="8229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GB" sz="2000" dirty="0"/>
            </a:p>
          </p:txBody>
        </p:sp>
        <p:pic>
          <p:nvPicPr>
            <p:cNvPr id="9" name="Graphic 8" descr="Download">
              <a:extLst>
                <a:ext uri="{FF2B5EF4-FFF2-40B4-BE49-F238E27FC236}">
                  <a16:creationId xmlns:a16="http://schemas.microsoft.com/office/drawing/2014/main" id="{40DBD93D-9EA9-4F4E-8B93-1CF9DFB34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414643" y="3889380"/>
              <a:ext cx="914400" cy="9144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D289A78-FD28-4A58-9728-49CA40452D5C}"/>
                </a:ext>
              </a:extLst>
            </p:cNvPr>
            <p:cNvSpPr txBox="1"/>
            <p:nvPr/>
          </p:nvSpPr>
          <p:spPr>
            <a:xfrm>
              <a:off x="7373566" y="4212116"/>
              <a:ext cx="1572546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2000" b="1" dirty="0">
                  <a:solidFill>
                    <a:schemeClr val="bg1"/>
                  </a:solidFill>
                </a:rPr>
                <a:t>DOWNLO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8781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id="{8DD02A6D-ECD8-464A-80D2-018FDB838A21}"/>
              </a:ext>
            </a:extLst>
          </p:cNvPr>
          <p:cNvSpPr/>
          <p:nvPr/>
        </p:nvSpPr>
        <p:spPr>
          <a:xfrm>
            <a:off x="256111" y="944198"/>
            <a:ext cx="3799841" cy="218175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7B190D5-2DD5-4BB5-861C-65CE7A7A5FC0}"/>
              </a:ext>
            </a:extLst>
          </p:cNvPr>
          <p:cNvSpPr/>
          <p:nvPr/>
        </p:nvSpPr>
        <p:spPr>
          <a:xfrm>
            <a:off x="4136090" y="944196"/>
            <a:ext cx="2773064" cy="465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CEBA5164-5E38-4553-B86F-1F114940EAC1}"/>
              </a:ext>
            </a:extLst>
          </p:cNvPr>
          <p:cNvSpPr/>
          <p:nvPr/>
        </p:nvSpPr>
        <p:spPr>
          <a:xfrm>
            <a:off x="6997583" y="944196"/>
            <a:ext cx="4975541" cy="46508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9A60E94-AE63-443D-B54A-649A1716DC27}"/>
              </a:ext>
            </a:extLst>
          </p:cNvPr>
          <p:cNvSpPr txBox="1"/>
          <p:nvPr/>
        </p:nvSpPr>
        <p:spPr>
          <a:xfrm>
            <a:off x="7424457" y="1094087"/>
            <a:ext cx="38138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n-ea"/>
                <a:cs typeface="+mn-cs"/>
              </a:rPr>
              <a:t>Channel partner assets and tools</a:t>
            </a:r>
          </a:p>
        </p:txBody>
      </p:sp>
      <p:sp>
        <p:nvSpPr>
          <p:cNvPr id="97" name="Shape 3397">
            <a:extLst>
              <a:ext uri="{FF2B5EF4-FFF2-40B4-BE49-F238E27FC236}">
                <a16:creationId xmlns:a16="http://schemas.microsoft.com/office/drawing/2014/main" id="{20988D38-81A8-4C6F-9E78-8DA1364E7509}"/>
              </a:ext>
            </a:extLst>
          </p:cNvPr>
          <p:cNvSpPr/>
          <p:nvPr/>
        </p:nvSpPr>
        <p:spPr>
          <a:xfrm>
            <a:off x="7106109" y="1079706"/>
            <a:ext cx="232418" cy="21878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5525" y="12825"/>
                </a:moveTo>
                <a:cubicBezTo>
                  <a:pt x="13162" y="12825"/>
                  <a:pt x="11475" y="14850"/>
                  <a:pt x="8775" y="14850"/>
                </a:cubicBezTo>
                <a:cubicBezTo>
                  <a:pt x="5400" y="14850"/>
                  <a:pt x="2700" y="12825"/>
                  <a:pt x="2700" y="12825"/>
                </a:cubicBezTo>
                <a:cubicBezTo>
                  <a:pt x="2700" y="1350"/>
                  <a:pt x="2700" y="1350"/>
                  <a:pt x="2700" y="1350"/>
                </a:cubicBezTo>
                <a:cubicBezTo>
                  <a:pt x="2700" y="1350"/>
                  <a:pt x="5062" y="3375"/>
                  <a:pt x="8775" y="3375"/>
                </a:cubicBezTo>
                <a:cubicBezTo>
                  <a:pt x="11475" y="3375"/>
                  <a:pt x="12825" y="1350"/>
                  <a:pt x="15525" y="1350"/>
                </a:cubicBezTo>
                <a:cubicBezTo>
                  <a:pt x="18900" y="1350"/>
                  <a:pt x="21600" y="3375"/>
                  <a:pt x="21600" y="3375"/>
                </a:cubicBezTo>
                <a:cubicBezTo>
                  <a:pt x="21600" y="14850"/>
                  <a:pt x="21600" y="14850"/>
                  <a:pt x="21600" y="14850"/>
                </a:cubicBezTo>
                <a:cubicBezTo>
                  <a:pt x="21600" y="14850"/>
                  <a:pt x="18900" y="12825"/>
                  <a:pt x="15525" y="12825"/>
                </a:cubicBezTo>
                <a:close/>
                <a:moveTo>
                  <a:pt x="20250" y="3881"/>
                </a:moveTo>
                <a:cubicBezTo>
                  <a:pt x="19069" y="3375"/>
                  <a:pt x="17381" y="2700"/>
                  <a:pt x="15525" y="2700"/>
                </a:cubicBezTo>
                <a:cubicBezTo>
                  <a:pt x="12825" y="2700"/>
                  <a:pt x="11475" y="4725"/>
                  <a:pt x="8775" y="4725"/>
                </a:cubicBezTo>
                <a:cubicBezTo>
                  <a:pt x="6750" y="4725"/>
                  <a:pt x="5062" y="4050"/>
                  <a:pt x="4050" y="3544"/>
                </a:cubicBezTo>
                <a:cubicBezTo>
                  <a:pt x="4050" y="6412"/>
                  <a:pt x="4050" y="10462"/>
                  <a:pt x="4050" y="12319"/>
                </a:cubicBezTo>
                <a:cubicBezTo>
                  <a:pt x="5231" y="12825"/>
                  <a:pt x="6919" y="13500"/>
                  <a:pt x="8775" y="13500"/>
                </a:cubicBezTo>
                <a:cubicBezTo>
                  <a:pt x="11475" y="13500"/>
                  <a:pt x="13162" y="11475"/>
                  <a:pt x="15525" y="11475"/>
                </a:cubicBezTo>
                <a:cubicBezTo>
                  <a:pt x="17550" y="11475"/>
                  <a:pt x="19238" y="12150"/>
                  <a:pt x="20250" y="12656"/>
                </a:cubicBezTo>
                <a:cubicBezTo>
                  <a:pt x="20250" y="10294"/>
                  <a:pt x="20250" y="8269"/>
                  <a:pt x="20250" y="3881"/>
                </a:cubicBezTo>
                <a:close/>
                <a:moveTo>
                  <a:pt x="675" y="21600"/>
                </a:moveTo>
                <a:cubicBezTo>
                  <a:pt x="337" y="21600"/>
                  <a:pt x="0" y="21263"/>
                  <a:pt x="0" y="20925"/>
                </a:cubicBezTo>
                <a:cubicBezTo>
                  <a:pt x="0" y="675"/>
                  <a:pt x="0" y="675"/>
                  <a:pt x="0" y="675"/>
                </a:cubicBezTo>
                <a:cubicBezTo>
                  <a:pt x="0" y="337"/>
                  <a:pt x="337" y="0"/>
                  <a:pt x="675" y="0"/>
                </a:cubicBezTo>
                <a:cubicBezTo>
                  <a:pt x="1012" y="0"/>
                  <a:pt x="1350" y="337"/>
                  <a:pt x="1350" y="675"/>
                </a:cubicBezTo>
                <a:cubicBezTo>
                  <a:pt x="1350" y="20925"/>
                  <a:pt x="1350" y="20925"/>
                  <a:pt x="1350" y="20925"/>
                </a:cubicBezTo>
                <a:cubicBezTo>
                  <a:pt x="1350" y="21263"/>
                  <a:pt x="1012" y="21600"/>
                  <a:pt x="675" y="21600"/>
                </a:cubicBezTo>
                <a:close/>
              </a:path>
            </a:pathLst>
          </a:custGeom>
          <a:gradFill>
            <a:gsLst>
              <a:gs pos="100000">
                <a:schemeClr val="accent6">
                  <a:lumMod val="75000"/>
                </a:schemeClr>
              </a:gs>
              <a:gs pos="0">
                <a:schemeClr val="accent2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22860" rIns="22860"/>
          <a:lstStyle/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0">
                <a:solidFill>
                  <a:srgbClr val="27282D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7282D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08BDF2E-0B2C-4DE5-B831-476E6309AD75}"/>
              </a:ext>
            </a:extLst>
          </p:cNvPr>
          <p:cNvSpPr/>
          <p:nvPr/>
        </p:nvSpPr>
        <p:spPr>
          <a:xfrm>
            <a:off x="256111" y="3216439"/>
            <a:ext cx="3799841" cy="23786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06F1BFF7-1978-4D38-B817-50EF2FD23955}"/>
              </a:ext>
            </a:extLst>
          </p:cNvPr>
          <p:cNvSpPr txBox="1"/>
          <p:nvPr/>
        </p:nvSpPr>
        <p:spPr>
          <a:xfrm>
            <a:off x="364065" y="3669210"/>
            <a:ext cx="3661267" cy="84638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defRPr/>
            </a:pPr>
            <a:r>
              <a:rPr lang="en-US" sz="1100" b="1" dirty="0">
                <a:latin typeface="3M Circular TT Light"/>
                <a:cs typeface="3M Circular TT Light" panose="020B0604020101020102" pitchFamily="34" charset="77"/>
              </a:rPr>
              <a:t>This programme aims to target small-to-medium sized businesses (SMEs), looking for reliable, comfortable &amp; convenient respiratory protection with the 3M™ Maintenance Free Reusable Respirators 4000+ Series</a:t>
            </a:r>
          </a:p>
          <a:p>
            <a:pPr lvl="0">
              <a:defRPr/>
            </a:pPr>
            <a:endParaRPr lang="en-US" sz="1100" b="1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5DC5FAEC-0639-4B74-BF65-E2E56D3E1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508" y="385389"/>
            <a:ext cx="11719778" cy="457200"/>
          </a:xfrm>
        </p:spPr>
        <p:txBody>
          <a:bodyPr/>
          <a:lstStyle/>
          <a:p>
            <a:r>
              <a:rPr lang="en-US" dirty="0"/>
              <a:t>4000+ Reboot &amp; Win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3E1BD86-9812-49CF-B264-C91A808922DD}"/>
              </a:ext>
            </a:extLst>
          </p:cNvPr>
          <p:cNvSpPr txBox="1"/>
          <p:nvPr/>
        </p:nvSpPr>
        <p:spPr>
          <a:xfrm>
            <a:off x="654763" y="3336812"/>
            <a:ext cx="3344751" cy="2180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n-ea"/>
                <a:cs typeface="+mn-cs"/>
              </a:rPr>
              <a:t>Scope, Objective, Segment and Benefit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7011F3F-9AD6-46D9-9890-D7CB6D58F3BE}"/>
              </a:ext>
            </a:extLst>
          </p:cNvPr>
          <p:cNvSpPr txBox="1"/>
          <p:nvPr/>
        </p:nvSpPr>
        <p:spPr>
          <a:xfrm>
            <a:off x="333445" y="4447945"/>
            <a:ext cx="3617618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Channel partners participating in the programme can expect to increase their sales by expanding the market for respiratory protection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4000+ is a consumable product, and repeat purchase will lead to sustainable new business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1510457-3BE2-4FDD-A87D-9BEA8D2F61F6}"/>
              </a:ext>
            </a:extLst>
          </p:cNvPr>
          <p:cNvSpPr txBox="1"/>
          <p:nvPr/>
        </p:nvSpPr>
        <p:spPr>
          <a:xfrm>
            <a:off x="4554974" y="1067965"/>
            <a:ext cx="257010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n-ea"/>
                <a:cs typeface="+mn-cs"/>
              </a:rPr>
              <a:t>Activities and Tactic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BF25F1CC-D724-48F8-AD32-7390DB219211}"/>
              </a:ext>
            </a:extLst>
          </p:cNvPr>
          <p:cNvSpPr txBox="1"/>
          <p:nvPr/>
        </p:nvSpPr>
        <p:spPr>
          <a:xfrm>
            <a:off x="406272" y="2166355"/>
            <a:ext cx="212157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-18"/>
                <a:ea typeface="+mn-ea"/>
                <a:cs typeface="3M Circular TT Light" panose="020B0404020101020102" pitchFamily="34" charset="-18"/>
              </a:rPr>
              <a:t>Hero Product(s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B554F11-7A47-405D-92B9-F06B2ACBF4A0}"/>
              </a:ext>
            </a:extLst>
          </p:cNvPr>
          <p:cNvSpPr txBox="1"/>
          <p:nvPr/>
        </p:nvSpPr>
        <p:spPr>
          <a:xfrm>
            <a:off x="406272" y="2337066"/>
            <a:ext cx="332099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n-ea"/>
                <a:cs typeface="+mn-cs"/>
              </a:rPr>
              <a:t>3M™ Maintenance Free Reusable Respirators 4000+ Serie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DC14B2-6EB2-4641-888F-FD1F97E1740C}"/>
              </a:ext>
            </a:extLst>
          </p:cNvPr>
          <p:cNvSpPr txBox="1"/>
          <p:nvPr/>
        </p:nvSpPr>
        <p:spPr>
          <a:xfrm>
            <a:off x="406272" y="1437949"/>
            <a:ext cx="356134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-18"/>
                <a:ea typeface="+mn-ea"/>
                <a:cs typeface="3M Circular TT Light" panose="020B0404020101020102" pitchFamily="34" charset="-18"/>
              </a:rPr>
              <a:t>Earliest Go Live Dat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3M Circular TT Light" panose="020B0404020101020102" pitchFamily="34" charset="-18"/>
              </a:rPr>
              <a:t>English: </a:t>
            </a:r>
            <a:r>
              <a:rPr lang="en-US" sz="1100" dirty="0">
                <a:solidFill>
                  <a:prstClr val="black"/>
                </a:solidFill>
                <a:latin typeface="+mj-lt"/>
                <a:cs typeface="3M Circular TT Light" panose="020B0404020101020102" pitchFamily="34" charset="-18"/>
              </a:rPr>
              <a:t>Jun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3M Circular TT Light" panose="020B0404020101020102" pitchFamily="34" charset="-18"/>
              </a:rPr>
              <a:t> 202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cs typeface="3M Circular TT Light" panose="020B0404020101020102" pitchFamily="34" charset="-18"/>
              </a:rPr>
              <a:t>Local language: June 202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3M Circular TT Light" panose="020B0404020101020102" pitchFamily="34" charset="-18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F35E1AB-E866-43FA-8EE4-5C995A25468D}"/>
              </a:ext>
            </a:extLst>
          </p:cNvPr>
          <p:cNvSpPr txBox="1"/>
          <p:nvPr/>
        </p:nvSpPr>
        <p:spPr>
          <a:xfrm>
            <a:off x="409395" y="1090026"/>
            <a:ext cx="3561343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lang="en-US" sz="1100" dirty="0">
                <a:solidFill>
                  <a:prstClr val="black"/>
                </a:solidFill>
                <a:latin typeface="+mj-lt"/>
                <a:cs typeface="3M Circular TT Light" panose="020B0404020101020102" pitchFamily="34" charset="-18"/>
              </a:rPr>
              <a:t>Division: </a:t>
            </a: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Personal Safety Division</a:t>
            </a:r>
          </a:p>
        </p:txBody>
      </p:sp>
      <p:sp>
        <p:nvSpPr>
          <p:cNvPr id="35" name="Shape 3358">
            <a:extLst>
              <a:ext uri="{FF2B5EF4-FFF2-40B4-BE49-F238E27FC236}">
                <a16:creationId xmlns:a16="http://schemas.microsoft.com/office/drawing/2014/main" id="{24C73241-0B32-4ADD-A396-8BE33050A84C}"/>
              </a:ext>
            </a:extLst>
          </p:cNvPr>
          <p:cNvSpPr/>
          <p:nvPr/>
        </p:nvSpPr>
        <p:spPr>
          <a:xfrm rot="10800000">
            <a:off x="323018" y="3352201"/>
            <a:ext cx="232418" cy="218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4894" y="21600"/>
                  <a:pt x="0" y="16706"/>
                  <a:pt x="0" y="10800"/>
                </a:cubicBezTo>
                <a:cubicBezTo>
                  <a:pt x="0" y="4894"/>
                  <a:pt x="4894" y="0"/>
                  <a:pt x="10800" y="0"/>
                </a:cubicBezTo>
                <a:cubicBezTo>
                  <a:pt x="16706" y="0"/>
                  <a:pt x="21600" y="4894"/>
                  <a:pt x="21600" y="10800"/>
                </a:cubicBezTo>
                <a:cubicBezTo>
                  <a:pt x="21600" y="16706"/>
                  <a:pt x="16706" y="21600"/>
                  <a:pt x="10800" y="21600"/>
                </a:cubicBezTo>
                <a:close/>
                <a:moveTo>
                  <a:pt x="10800" y="1350"/>
                </a:moveTo>
                <a:cubicBezTo>
                  <a:pt x="5569" y="1350"/>
                  <a:pt x="1350" y="5569"/>
                  <a:pt x="1350" y="10800"/>
                </a:cubicBezTo>
                <a:cubicBezTo>
                  <a:pt x="1350" y="16031"/>
                  <a:pt x="5569" y="20250"/>
                  <a:pt x="10800" y="20250"/>
                </a:cubicBezTo>
                <a:cubicBezTo>
                  <a:pt x="16031" y="20250"/>
                  <a:pt x="20250" y="16031"/>
                  <a:pt x="20250" y="10800"/>
                </a:cubicBezTo>
                <a:cubicBezTo>
                  <a:pt x="20250" y="5569"/>
                  <a:pt x="16031" y="1350"/>
                  <a:pt x="10800" y="1350"/>
                </a:cubicBezTo>
                <a:close/>
                <a:moveTo>
                  <a:pt x="10800" y="14850"/>
                </a:moveTo>
                <a:cubicBezTo>
                  <a:pt x="10631" y="14850"/>
                  <a:pt x="10462" y="14850"/>
                  <a:pt x="10294" y="14681"/>
                </a:cubicBezTo>
                <a:cubicBezTo>
                  <a:pt x="10125" y="14512"/>
                  <a:pt x="10125" y="14344"/>
                  <a:pt x="10125" y="14175"/>
                </a:cubicBezTo>
                <a:cubicBezTo>
                  <a:pt x="10125" y="14006"/>
                  <a:pt x="10125" y="13838"/>
                  <a:pt x="10294" y="13669"/>
                </a:cubicBezTo>
                <a:cubicBezTo>
                  <a:pt x="10462" y="13669"/>
                  <a:pt x="10631" y="13500"/>
                  <a:pt x="10800" y="13500"/>
                </a:cubicBezTo>
                <a:cubicBezTo>
                  <a:pt x="10969" y="13500"/>
                  <a:pt x="11138" y="13669"/>
                  <a:pt x="11306" y="13669"/>
                </a:cubicBezTo>
                <a:cubicBezTo>
                  <a:pt x="11475" y="13838"/>
                  <a:pt x="11475" y="14006"/>
                  <a:pt x="11475" y="14175"/>
                </a:cubicBezTo>
                <a:cubicBezTo>
                  <a:pt x="11475" y="14344"/>
                  <a:pt x="11475" y="14512"/>
                  <a:pt x="11306" y="14681"/>
                </a:cubicBezTo>
                <a:cubicBezTo>
                  <a:pt x="11138" y="14850"/>
                  <a:pt x="10969" y="14850"/>
                  <a:pt x="10800" y="14850"/>
                </a:cubicBezTo>
                <a:close/>
                <a:moveTo>
                  <a:pt x="10800" y="12150"/>
                </a:moveTo>
                <a:cubicBezTo>
                  <a:pt x="10462" y="12150"/>
                  <a:pt x="10125" y="11812"/>
                  <a:pt x="10125" y="11475"/>
                </a:cubicBezTo>
                <a:cubicBezTo>
                  <a:pt x="10125" y="7425"/>
                  <a:pt x="10125" y="7425"/>
                  <a:pt x="10125" y="7425"/>
                </a:cubicBezTo>
                <a:cubicBezTo>
                  <a:pt x="10125" y="7087"/>
                  <a:pt x="10462" y="6750"/>
                  <a:pt x="10800" y="6750"/>
                </a:cubicBezTo>
                <a:cubicBezTo>
                  <a:pt x="11138" y="6750"/>
                  <a:pt x="11475" y="7087"/>
                  <a:pt x="11475" y="7425"/>
                </a:cubicBezTo>
                <a:cubicBezTo>
                  <a:pt x="11475" y="11475"/>
                  <a:pt x="11475" y="11475"/>
                  <a:pt x="11475" y="11475"/>
                </a:cubicBezTo>
                <a:cubicBezTo>
                  <a:pt x="11475" y="11812"/>
                  <a:pt x="11138" y="12150"/>
                  <a:pt x="10800" y="12150"/>
                </a:cubicBezTo>
                <a:close/>
              </a:path>
            </a:pathLst>
          </a:custGeom>
          <a:gradFill>
            <a:gsLst>
              <a:gs pos="0">
                <a:schemeClr val="accent6">
                  <a:lumMod val="75000"/>
                </a:schemeClr>
              </a:gs>
              <a:gs pos="100000">
                <a:schemeClr val="accent2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22860" rIns="22860"/>
          <a:lstStyle/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0">
                <a:solidFill>
                  <a:srgbClr val="27282D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7282D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ED57796-7D6A-4F8C-90F6-4686D9D4B7BE}"/>
              </a:ext>
            </a:extLst>
          </p:cNvPr>
          <p:cNvGrpSpPr/>
          <p:nvPr/>
        </p:nvGrpSpPr>
        <p:grpSpPr>
          <a:xfrm>
            <a:off x="256111" y="5678808"/>
            <a:ext cx="11717013" cy="734162"/>
            <a:chOff x="256111" y="5678808"/>
            <a:chExt cx="11717013" cy="734162"/>
          </a:xfrm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8581D08-A644-4354-BC7B-39D45B6CDF13}"/>
                </a:ext>
              </a:extLst>
            </p:cNvPr>
            <p:cNvSpPr/>
            <p:nvPr/>
          </p:nvSpPr>
          <p:spPr>
            <a:xfrm>
              <a:off x="256111" y="5678808"/>
              <a:ext cx="3799841" cy="73416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B8385FF-F697-401C-8091-5AF9755F1ECD}"/>
                </a:ext>
              </a:extLst>
            </p:cNvPr>
            <p:cNvSpPr/>
            <p:nvPr/>
          </p:nvSpPr>
          <p:spPr>
            <a:xfrm>
              <a:off x="4136090" y="5678808"/>
              <a:ext cx="2773064" cy="73416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56006EF-8291-45DD-AE35-13F66B6584EB}"/>
                </a:ext>
              </a:extLst>
            </p:cNvPr>
            <p:cNvSpPr/>
            <p:nvPr/>
          </p:nvSpPr>
          <p:spPr>
            <a:xfrm>
              <a:off x="6997583" y="5678808"/>
              <a:ext cx="4975541" cy="73416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5F33FE5-9131-42FC-9021-B1AFABA88578}"/>
                </a:ext>
              </a:extLst>
            </p:cNvPr>
            <p:cNvSpPr txBox="1"/>
            <p:nvPr/>
          </p:nvSpPr>
          <p:spPr>
            <a:xfrm>
              <a:off x="654763" y="5742225"/>
              <a:ext cx="2772179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400" dirty="0">
                  <a:solidFill>
                    <a:schemeClr val="bg1"/>
                  </a:solidFill>
                  <a:latin typeface="3M Circular TT Bold"/>
                </a:rPr>
                <a:t>Sales Growth Target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AB229CF0-26D1-4BFB-BC05-5E11F8BDA2EF}"/>
                </a:ext>
              </a:extLst>
            </p:cNvPr>
            <p:cNvSpPr/>
            <p:nvPr/>
          </p:nvSpPr>
          <p:spPr>
            <a:xfrm>
              <a:off x="585126" y="5940436"/>
              <a:ext cx="1705397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schemeClr val="bg1"/>
                  </a:solidFill>
                  <a:latin typeface="3M Circular TT Light" panose="020B0404020101020102" pitchFamily="34" charset="-18"/>
                  <a:cs typeface="3M Circular TT Light" panose="020B0404020101020102" pitchFamily="34" charset="-18"/>
                </a:rPr>
                <a:t>Initial Channel Partner Growth Target: </a:t>
              </a:r>
              <a:r>
                <a:rPr lang="en-US" sz="1100" dirty="0">
                  <a:solidFill>
                    <a:schemeClr val="bg1"/>
                  </a:solidFill>
                  <a:latin typeface="3M Circular TT Bold" panose="020B0804020101010102" pitchFamily="34" charset="0"/>
                  <a:cs typeface="3M Circular TT Bold" panose="020B0804020101010102" pitchFamily="34" charset="0"/>
                </a:rPr>
                <a:t>$xxx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sp>
          <p:nvSpPr>
            <p:cNvPr id="34" name="Shape 3355">
              <a:extLst>
                <a:ext uri="{FF2B5EF4-FFF2-40B4-BE49-F238E27FC236}">
                  <a16:creationId xmlns:a16="http://schemas.microsoft.com/office/drawing/2014/main" id="{010BBC27-E567-4171-9066-9CF24791AB85}"/>
                </a:ext>
              </a:extLst>
            </p:cNvPr>
            <p:cNvSpPr/>
            <p:nvPr/>
          </p:nvSpPr>
          <p:spPr>
            <a:xfrm>
              <a:off x="323018" y="5732550"/>
              <a:ext cx="232418" cy="2180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94" y="21600"/>
                    <a:pt x="0" y="16706"/>
                    <a:pt x="0" y="10800"/>
                  </a:cubicBezTo>
                  <a:cubicBezTo>
                    <a:pt x="0" y="4894"/>
                    <a:pt x="4894" y="0"/>
                    <a:pt x="10800" y="0"/>
                  </a:cubicBezTo>
                  <a:cubicBezTo>
                    <a:pt x="16706" y="0"/>
                    <a:pt x="21600" y="4894"/>
                    <a:pt x="21600" y="10800"/>
                  </a:cubicBezTo>
                  <a:cubicBezTo>
                    <a:pt x="21600" y="16706"/>
                    <a:pt x="16706" y="21600"/>
                    <a:pt x="10800" y="21600"/>
                  </a:cubicBezTo>
                  <a:close/>
                  <a:moveTo>
                    <a:pt x="10800" y="1350"/>
                  </a:moveTo>
                  <a:cubicBezTo>
                    <a:pt x="5569" y="1350"/>
                    <a:pt x="1350" y="5569"/>
                    <a:pt x="1350" y="10800"/>
                  </a:cubicBezTo>
                  <a:cubicBezTo>
                    <a:pt x="1350" y="16031"/>
                    <a:pt x="5569" y="20250"/>
                    <a:pt x="10800" y="20250"/>
                  </a:cubicBezTo>
                  <a:cubicBezTo>
                    <a:pt x="16031" y="20250"/>
                    <a:pt x="20250" y="16031"/>
                    <a:pt x="20250" y="10800"/>
                  </a:cubicBezTo>
                  <a:cubicBezTo>
                    <a:pt x="20250" y="5569"/>
                    <a:pt x="16031" y="1350"/>
                    <a:pt x="10800" y="1350"/>
                  </a:cubicBezTo>
                  <a:close/>
                  <a:moveTo>
                    <a:pt x="11644" y="10294"/>
                  </a:moveTo>
                  <a:cubicBezTo>
                    <a:pt x="12488" y="10462"/>
                    <a:pt x="13500" y="10800"/>
                    <a:pt x="13500" y="12319"/>
                  </a:cubicBezTo>
                  <a:cubicBezTo>
                    <a:pt x="13500" y="13500"/>
                    <a:pt x="12656" y="14175"/>
                    <a:pt x="11475" y="14344"/>
                  </a:cubicBezTo>
                  <a:cubicBezTo>
                    <a:pt x="11475" y="15188"/>
                    <a:pt x="11475" y="15188"/>
                    <a:pt x="11475" y="15188"/>
                  </a:cubicBezTo>
                  <a:cubicBezTo>
                    <a:pt x="11475" y="15356"/>
                    <a:pt x="11475" y="15525"/>
                    <a:pt x="11138" y="15525"/>
                  </a:cubicBezTo>
                  <a:cubicBezTo>
                    <a:pt x="10462" y="15525"/>
                    <a:pt x="10462" y="15525"/>
                    <a:pt x="10462" y="15525"/>
                  </a:cubicBezTo>
                  <a:cubicBezTo>
                    <a:pt x="10125" y="15525"/>
                    <a:pt x="10125" y="15356"/>
                    <a:pt x="10125" y="15188"/>
                  </a:cubicBezTo>
                  <a:cubicBezTo>
                    <a:pt x="10125" y="14344"/>
                    <a:pt x="10125" y="14344"/>
                    <a:pt x="10125" y="14344"/>
                  </a:cubicBezTo>
                  <a:cubicBezTo>
                    <a:pt x="9113" y="14175"/>
                    <a:pt x="8100" y="13500"/>
                    <a:pt x="8100" y="12150"/>
                  </a:cubicBezTo>
                  <a:cubicBezTo>
                    <a:pt x="8100" y="11981"/>
                    <a:pt x="8100" y="11981"/>
                    <a:pt x="8438" y="11981"/>
                  </a:cubicBezTo>
                  <a:cubicBezTo>
                    <a:pt x="9450" y="11981"/>
                    <a:pt x="9450" y="11981"/>
                    <a:pt x="9450" y="11981"/>
                  </a:cubicBezTo>
                  <a:cubicBezTo>
                    <a:pt x="9619" y="11981"/>
                    <a:pt x="9788" y="11981"/>
                    <a:pt x="9788" y="12150"/>
                  </a:cubicBezTo>
                  <a:cubicBezTo>
                    <a:pt x="9788" y="12319"/>
                    <a:pt x="9788" y="12488"/>
                    <a:pt x="9956" y="12656"/>
                  </a:cubicBezTo>
                  <a:cubicBezTo>
                    <a:pt x="10125" y="12994"/>
                    <a:pt x="10462" y="12994"/>
                    <a:pt x="10969" y="12994"/>
                  </a:cubicBezTo>
                  <a:cubicBezTo>
                    <a:pt x="11475" y="12994"/>
                    <a:pt x="11981" y="12825"/>
                    <a:pt x="11981" y="12319"/>
                  </a:cubicBezTo>
                  <a:cubicBezTo>
                    <a:pt x="11981" y="11644"/>
                    <a:pt x="10969" y="11644"/>
                    <a:pt x="10125" y="11475"/>
                  </a:cubicBezTo>
                  <a:cubicBezTo>
                    <a:pt x="9113" y="11138"/>
                    <a:pt x="8269" y="10631"/>
                    <a:pt x="8269" y="9281"/>
                  </a:cubicBezTo>
                  <a:cubicBezTo>
                    <a:pt x="8269" y="8100"/>
                    <a:pt x="9113" y="7425"/>
                    <a:pt x="10125" y="7256"/>
                  </a:cubicBezTo>
                  <a:cubicBezTo>
                    <a:pt x="10125" y="6412"/>
                    <a:pt x="10125" y="6412"/>
                    <a:pt x="10125" y="6412"/>
                  </a:cubicBezTo>
                  <a:cubicBezTo>
                    <a:pt x="10125" y="6244"/>
                    <a:pt x="10125" y="6075"/>
                    <a:pt x="10462" y="6075"/>
                  </a:cubicBezTo>
                  <a:cubicBezTo>
                    <a:pt x="11138" y="6075"/>
                    <a:pt x="11138" y="6075"/>
                    <a:pt x="11138" y="6075"/>
                  </a:cubicBezTo>
                  <a:cubicBezTo>
                    <a:pt x="11475" y="6075"/>
                    <a:pt x="11475" y="6244"/>
                    <a:pt x="11475" y="6412"/>
                  </a:cubicBezTo>
                  <a:cubicBezTo>
                    <a:pt x="11475" y="7256"/>
                    <a:pt x="11475" y="7256"/>
                    <a:pt x="11475" y="7256"/>
                  </a:cubicBezTo>
                  <a:cubicBezTo>
                    <a:pt x="12488" y="7425"/>
                    <a:pt x="13331" y="8100"/>
                    <a:pt x="13331" y="9112"/>
                  </a:cubicBezTo>
                  <a:cubicBezTo>
                    <a:pt x="13331" y="9450"/>
                    <a:pt x="13331" y="9450"/>
                    <a:pt x="12994" y="9450"/>
                  </a:cubicBezTo>
                  <a:cubicBezTo>
                    <a:pt x="11981" y="9450"/>
                    <a:pt x="11981" y="9450"/>
                    <a:pt x="11981" y="9450"/>
                  </a:cubicBezTo>
                  <a:cubicBezTo>
                    <a:pt x="11813" y="9450"/>
                    <a:pt x="11813" y="9281"/>
                    <a:pt x="11813" y="9112"/>
                  </a:cubicBezTo>
                  <a:cubicBezTo>
                    <a:pt x="11813" y="9112"/>
                    <a:pt x="11644" y="8944"/>
                    <a:pt x="11475" y="8944"/>
                  </a:cubicBezTo>
                  <a:cubicBezTo>
                    <a:pt x="11306" y="8606"/>
                    <a:pt x="10969" y="8606"/>
                    <a:pt x="10631" y="8606"/>
                  </a:cubicBezTo>
                  <a:cubicBezTo>
                    <a:pt x="10294" y="8606"/>
                    <a:pt x="9788" y="8775"/>
                    <a:pt x="9788" y="9281"/>
                  </a:cubicBezTo>
                  <a:cubicBezTo>
                    <a:pt x="9788" y="9788"/>
                    <a:pt x="11306" y="10125"/>
                    <a:pt x="11644" y="10294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/>
            <a:lstStyle/>
            <a:p>
              <a:pPr marL="0" marR="0" lvl="0" indent="0" algn="l" defTabSz="12191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800" spc="0">
                  <a:solidFill>
                    <a:srgbClr val="27282D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7282D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95888DB9-D933-4BDE-AADA-34B528234F04}"/>
                </a:ext>
              </a:extLst>
            </p:cNvPr>
            <p:cNvSpPr txBox="1"/>
            <p:nvPr/>
          </p:nvSpPr>
          <p:spPr>
            <a:xfrm>
              <a:off x="4554974" y="5738143"/>
              <a:ext cx="2340491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400" dirty="0">
                  <a:solidFill>
                    <a:schemeClr val="bg1"/>
                  </a:solidFill>
                  <a:latin typeface="3M Circular TT Bold"/>
                </a:rPr>
                <a:t>Available Languages</a:t>
              </a:r>
            </a:p>
          </p:txBody>
        </p:sp>
        <p:sp>
          <p:nvSpPr>
            <p:cNvPr id="71" name="Shape 3360">
              <a:extLst>
                <a:ext uri="{FF2B5EF4-FFF2-40B4-BE49-F238E27FC236}">
                  <a16:creationId xmlns:a16="http://schemas.microsoft.com/office/drawing/2014/main" id="{00A2BEAD-97EA-40BC-BC4C-79D70EB16783}"/>
                </a:ext>
              </a:extLst>
            </p:cNvPr>
            <p:cNvSpPr/>
            <p:nvPr/>
          </p:nvSpPr>
          <p:spPr>
            <a:xfrm>
              <a:off x="4251679" y="5741329"/>
              <a:ext cx="232418" cy="1991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0972" extrusionOk="0">
                  <a:moveTo>
                    <a:pt x="14850" y="5040"/>
                  </a:moveTo>
                  <a:cubicBezTo>
                    <a:pt x="2025" y="5040"/>
                    <a:pt x="2025" y="5040"/>
                    <a:pt x="2025" y="5040"/>
                  </a:cubicBezTo>
                  <a:cubicBezTo>
                    <a:pt x="844" y="5040"/>
                    <a:pt x="0" y="6120"/>
                    <a:pt x="0" y="7200"/>
                  </a:cubicBezTo>
                  <a:cubicBezTo>
                    <a:pt x="0" y="15840"/>
                    <a:pt x="0" y="15840"/>
                    <a:pt x="0" y="15840"/>
                  </a:cubicBezTo>
                  <a:cubicBezTo>
                    <a:pt x="0" y="17100"/>
                    <a:pt x="844" y="18000"/>
                    <a:pt x="2025" y="18000"/>
                  </a:cubicBezTo>
                  <a:cubicBezTo>
                    <a:pt x="3375" y="18000"/>
                    <a:pt x="3375" y="18000"/>
                    <a:pt x="3375" y="18000"/>
                  </a:cubicBezTo>
                  <a:cubicBezTo>
                    <a:pt x="3375" y="19620"/>
                    <a:pt x="3375" y="19620"/>
                    <a:pt x="3375" y="19620"/>
                  </a:cubicBezTo>
                  <a:cubicBezTo>
                    <a:pt x="3544" y="20520"/>
                    <a:pt x="4556" y="21600"/>
                    <a:pt x="6075" y="20520"/>
                  </a:cubicBezTo>
                  <a:cubicBezTo>
                    <a:pt x="8606" y="18000"/>
                    <a:pt x="8606" y="18000"/>
                    <a:pt x="8606" y="18000"/>
                  </a:cubicBezTo>
                  <a:cubicBezTo>
                    <a:pt x="14850" y="18000"/>
                    <a:pt x="14850" y="18000"/>
                    <a:pt x="14850" y="18000"/>
                  </a:cubicBezTo>
                  <a:cubicBezTo>
                    <a:pt x="16031" y="18000"/>
                    <a:pt x="16875" y="17100"/>
                    <a:pt x="16875" y="15840"/>
                  </a:cubicBezTo>
                  <a:cubicBezTo>
                    <a:pt x="16875" y="7200"/>
                    <a:pt x="16875" y="7200"/>
                    <a:pt x="16875" y="7200"/>
                  </a:cubicBezTo>
                  <a:cubicBezTo>
                    <a:pt x="16875" y="6120"/>
                    <a:pt x="16031" y="5040"/>
                    <a:pt x="14850" y="5040"/>
                  </a:cubicBezTo>
                  <a:close/>
                  <a:moveTo>
                    <a:pt x="15525" y="15120"/>
                  </a:moveTo>
                  <a:cubicBezTo>
                    <a:pt x="15525" y="16020"/>
                    <a:pt x="14850" y="16560"/>
                    <a:pt x="14175" y="16560"/>
                  </a:cubicBezTo>
                  <a:cubicBezTo>
                    <a:pt x="9788" y="16560"/>
                    <a:pt x="9788" y="16560"/>
                    <a:pt x="9788" y="16560"/>
                  </a:cubicBezTo>
                  <a:cubicBezTo>
                    <a:pt x="8269" y="16560"/>
                    <a:pt x="8269" y="16560"/>
                    <a:pt x="8269" y="16560"/>
                  </a:cubicBezTo>
                  <a:cubicBezTo>
                    <a:pt x="5231" y="19440"/>
                    <a:pt x="5231" y="19440"/>
                    <a:pt x="5231" y="19440"/>
                  </a:cubicBezTo>
                  <a:cubicBezTo>
                    <a:pt x="4725" y="19800"/>
                    <a:pt x="4725" y="18720"/>
                    <a:pt x="4725" y="18720"/>
                  </a:cubicBezTo>
                  <a:cubicBezTo>
                    <a:pt x="4725" y="17640"/>
                    <a:pt x="4725" y="17640"/>
                    <a:pt x="4725" y="17640"/>
                  </a:cubicBezTo>
                  <a:cubicBezTo>
                    <a:pt x="4725" y="17280"/>
                    <a:pt x="4725" y="16560"/>
                    <a:pt x="4725" y="16560"/>
                  </a:cubicBezTo>
                  <a:cubicBezTo>
                    <a:pt x="4725" y="16560"/>
                    <a:pt x="4388" y="16560"/>
                    <a:pt x="4050" y="16560"/>
                  </a:cubicBezTo>
                  <a:cubicBezTo>
                    <a:pt x="2700" y="16560"/>
                    <a:pt x="2700" y="16560"/>
                    <a:pt x="2700" y="16560"/>
                  </a:cubicBezTo>
                  <a:cubicBezTo>
                    <a:pt x="2025" y="16560"/>
                    <a:pt x="1350" y="16020"/>
                    <a:pt x="1350" y="15120"/>
                  </a:cubicBezTo>
                  <a:cubicBezTo>
                    <a:pt x="1350" y="7920"/>
                    <a:pt x="1350" y="7920"/>
                    <a:pt x="1350" y="7920"/>
                  </a:cubicBezTo>
                  <a:cubicBezTo>
                    <a:pt x="1350" y="7200"/>
                    <a:pt x="2025" y="6480"/>
                    <a:pt x="2700" y="6480"/>
                  </a:cubicBezTo>
                  <a:cubicBezTo>
                    <a:pt x="14175" y="6480"/>
                    <a:pt x="14175" y="6480"/>
                    <a:pt x="14175" y="6480"/>
                  </a:cubicBezTo>
                  <a:cubicBezTo>
                    <a:pt x="14850" y="6480"/>
                    <a:pt x="15525" y="7200"/>
                    <a:pt x="15525" y="7920"/>
                  </a:cubicBezTo>
                  <a:cubicBezTo>
                    <a:pt x="15525" y="15120"/>
                    <a:pt x="15525" y="15120"/>
                    <a:pt x="15525" y="15120"/>
                  </a:cubicBezTo>
                  <a:close/>
                  <a:moveTo>
                    <a:pt x="19575" y="0"/>
                  </a:moveTo>
                  <a:cubicBezTo>
                    <a:pt x="7425" y="0"/>
                    <a:pt x="7425" y="0"/>
                    <a:pt x="7425" y="0"/>
                  </a:cubicBezTo>
                  <a:cubicBezTo>
                    <a:pt x="6244" y="0"/>
                    <a:pt x="5400" y="900"/>
                    <a:pt x="5400" y="2160"/>
                  </a:cubicBezTo>
                  <a:cubicBezTo>
                    <a:pt x="5400" y="3600"/>
                    <a:pt x="5400" y="3600"/>
                    <a:pt x="5400" y="3600"/>
                  </a:cubicBezTo>
                  <a:cubicBezTo>
                    <a:pt x="6750" y="3600"/>
                    <a:pt x="6750" y="3600"/>
                    <a:pt x="6750" y="3600"/>
                  </a:cubicBezTo>
                  <a:cubicBezTo>
                    <a:pt x="6750" y="2880"/>
                    <a:pt x="6750" y="2880"/>
                    <a:pt x="6750" y="2880"/>
                  </a:cubicBezTo>
                  <a:cubicBezTo>
                    <a:pt x="6750" y="2160"/>
                    <a:pt x="7425" y="1440"/>
                    <a:pt x="8100" y="1440"/>
                  </a:cubicBezTo>
                  <a:cubicBezTo>
                    <a:pt x="18900" y="1440"/>
                    <a:pt x="18900" y="1440"/>
                    <a:pt x="18900" y="1440"/>
                  </a:cubicBezTo>
                  <a:cubicBezTo>
                    <a:pt x="19575" y="1440"/>
                    <a:pt x="20250" y="2160"/>
                    <a:pt x="20250" y="2880"/>
                  </a:cubicBezTo>
                  <a:cubicBezTo>
                    <a:pt x="20250" y="10080"/>
                    <a:pt x="20250" y="10080"/>
                    <a:pt x="20250" y="10080"/>
                  </a:cubicBezTo>
                  <a:cubicBezTo>
                    <a:pt x="20250" y="10800"/>
                    <a:pt x="19575" y="11520"/>
                    <a:pt x="18900" y="11520"/>
                  </a:cubicBezTo>
                  <a:cubicBezTo>
                    <a:pt x="18225" y="11520"/>
                    <a:pt x="18225" y="11520"/>
                    <a:pt x="18225" y="11520"/>
                  </a:cubicBezTo>
                  <a:cubicBezTo>
                    <a:pt x="18225" y="12960"/>
                    <a:pt x="18225" y="12960"/>
                    <a:pt x="18225" y="12960"/>
                  </a:cubicBezTo>
                  <a:cubicBezTo>
                    <a:pt x="19575" y="12960"/>
                    <a:pt x="19575" y="12960"/>
                    <a:pt x="19575" y="12960"/>
                  </a:cubicBezTo>
                  <a:cubicBezTo>
                    <a:pt x="20756" y="12960"/>
                    <a:pt x="21600" y="12060"/>
                    <a:pt x="21600" y="10800"/>
                  </a:cubicBezTo>
                  <a:cubicBezTo>
                    <a:pt x="21600" y="2160"/>
                    <a:pt x="21600" y="2160"/>
                    <a:pt x="21600" y="2160"/>
                  </a:cubicBezTo>
                  <a:cubicBezTo>
                    <a:pt x="21600" y="900"/>
                    <a:pt x="20756" y="0"/>
                    <a:pt x="19575" y="0"/>
                  </a:cubicBezTo>
                  <a:close/>
                  <a:moveTo>
                    <a:pt x="12150" y="9360"/>
                  </a:moveTo>
                  <a:cubicBezTo>
                    <a:pt x="4725" y="9360"/>
                    <a:pt x="4725" y="9360"/>
                    <a:pt x="4725" y="9360"/>
                  </a:cubicBezTo>
                  <a:cubicBezTo>
                    <a:pt x="4388" y="9360"/>
                    <a:pt x="4050" y="9720"/>
                    <a:pt x="4050" y="10080"/>
                  </a:cubicBezTo>
                  <a:cubicBezTo>
                    <a:pt x="4050" y="10440"/>
                    <a:pt x="4388" y="10800"/>
                    <a:pt x="4725" y="10800"/>
                  </a:cubicBezTo>
                  <a:cubicBezTo>
                    <a:pt x="12150" y="10800"/>
                    <a:pt x="12150" y="10800"/>
                    <a:pt x="12150" y="10800"/>
                  </a:cubicBezTo>
                  <a:cubicBezTo>
                    <a:pt x="12488" y="10800"/>
                    <a:pt x="12825" y="10440"/>
                    <a:pt x="12825" y="10080"/>
                  </a:cubicBezTo>
                  <a:cubicBezTo>
                    <a:pt x="12825" y="9720"/>
                    <a:pt x="12488" y="9360"/>
                    <a:pt x="12150" y="9360"/>
                  </a:cubicBezTo>
                  <a:close/>
                  <a:moveTo>
                    <a:pt x="10800" y="12240"/>
                  </a:moveTo>
                  <a:cubicBezTo>
                    <a:pt x="4725" y="12240"/>
                    <a:pt x="4725" y="12240"/>
                    <a:pt x="4725" y="12240"/>
                  </a:cubicBezTo>
                  <a:cubicBezTo>
                    <a:pt x="4388" y="12240"/>
                    <a:pt x="4050" y="12600"/>
                    <a:pt x="4050" y="12960"/>
                  </a:cubicBezTo>
                  <a:cubicBezTo>
                    <a:pt x="4050" y="13500"/>
                    <a:pt x="4388" y="13680"/>
                    <a:pt x="4725" y="13680"/>
                  </a:cubicBezTo>
                  <a:cubicBezTo>
                    <a:pt x="10800" y="13680"/>
                    <a:pt x="10800" y="13680"/>
                    <a:pt x="10800" y="13680"/>
                  </a:cubicBezTo>
                  <a:cubicBezTo>
                    <a:pt x="11138" y="13680"/>
                    <a:pt x="11475" y="13500"/>
                    <a:pt x="11475" y="12960"/>
                  </a:cubicBezTo>
                  <a:cubicBezTo>
                    <a:pt x="11475" y="12600"/>
                    <a:pt x="11138" y="12240"/>
                    <a:pt x="10800" y="1224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/>
            <a:lstStyle>
              <a:defPPr>
                <a:defRPr lang="sv-S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800" spc="0">
                  <a:solidFill>
                    <a:srgbClr val="27282D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7282D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7687108B-C0F8-4C68-BA27-660FA3EAC1F3}"/>
                </a:ext>
              </a:extLst>
            </p:cNvPr>
            <p:cNvSpPr/>
            <p:nvPr/>
          </p:nvSpPr>
          <p:spPr>
            <a:xfrm>
              <a:off x="4217705" y="6022139"/>
              <a:ext cx="2691450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1100" dirty="0">
                  <a:solidFill>
                    <a:schemeClr val="bg1"/>
                  </a:solidFill>
                  <a:latin typeface="3M Circular TT Light" panose="020B0404020101020102" pitchFamily="34" charset="-18"/>
                  <a:cs typeface="3M Circular TT Light" panose="020B0404020101020102" pitchFamily="34" charset="-18"/>
                </a:rPr>
                <a:t>UK, DE, NL, FR, ES, IT, SE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3M Circular TT Light" panose="020B0604020101020102" pitchFamily="34" charset="77"/>
                <a:cs typeface="3M Circular TT Light" panose="020B0604020101020102" pitchFamily="34" charset="77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A5E49BB-E878-4ED6-8C9F-157B5B7DBD72}"/>
                </a:ext>
              </a:extLst>
            </p:cNvPr>
            <p:cNvSpPr/>
            <p:nvPr/>
          </p:nvSpPr>
          <p:spPr>
            <a:xfrm>
              <a:off x="2482896" y="5940436"/>
              <a:ext cx="154243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dirty="0">
                  <a:solidFill>
                    <a:schemeClr val="bg1"/>
                  </a:solidFill>
                  <a:latin typeface="3M Circular TT Light" panose="020B0404020101020102" pitchFamily="34" charset="-18"/>
                  <a:cs typeface="3M Circular TT Light" panose="020B0404020101020102" pitchFamily="34" charset="-18"/>
                </a:rPr>
                <a:t>Suggested </a:t>
              </a:r>
              <a:br>
                <a:rPr lang="en-US" sz="1100" dirty="0">
                  <a:solidFill>
                    <a:schemeClr val="bg1"/>
                  </a:solidFill>
                  <a:latin typeface="3M Circular TT Light" panose="020B0404020101020102" pitchFamily="34" charset="-18"/>
                  <a:cs typeface="3M Circular TT Light" panose="020B0404020101020102" pitchFamily="34" charset="-18"/>
                </a:rPr>
              </a:br>
              <a:r>
                <a:rPr lang="en-US" sz="1100" dirty="0">
                  <a:solidFill>
                    <a:schemeClr val="bg1"/>
                  </a:solidFill>
                  <a:latin typeface="3M Circular TT Light" panose="020B0404020101020102" pitchFamily="34" charset="-18"/>
                  <a:cs typeface="3M Circular TT Light" panose="020B0404020101020102" pitchFamily="34" charset="-18"/>
                </a:rPr>
                <a:t>MDF: </a:t>
              </a:r>
              <a:r>
                <a:rPr lang="en-US" sz="1100" dirty="0">
                  <a:solidFill>
                    <a:schemeClr val="bg1"/>
                  </a:solidFill>
                  <a:latin typeface="3M Circular TT Bold" panose="020B0804020101010102" pitchFamily="34" charset="0"/>
                  <a:cs typeface="3M Circular TT Bold" panose="020B0804020101010102" pitchFamily="34" charset="0"/>
                </a:rPr>
                <a:t>$xxx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3M Circular TT Bold" panose="020B0804020101010102" pitchFamily="34" charset="0"/>
                <a:cs typeface="3M Circular TT Bold" panose="020B0804020101010102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70216EE-C0DD-4F5B-AF9F-24CFE6A1BC2A}"/>
                </a:ext>
              </a:extLst>
            </p:cNvPr>
            <p:cNvSpPr txBox="1"/>
            <p:nvPr/>
          </p:nvSpPr>
          <p:spPr>
            <a:xfrm>
              <a:off x="7424457" y="5738142"/>
              <a:ext cx="4436606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400" dirty="0">
                  <a:solidFill>
                    <a:schemeClr val="bg1"/>
                  </a:solidFill>
                  <a:latin typeface="3M Circular TT Bold"/>
                </a:rPr>
                <a:t>3M end user demand creation programs</a:t>
              </a:r>
            </a:p>
          </p:txBody>
        </p:sp>
        <p:sp>
          <p:nvSpPr>
            <p:cNvPr id="40" name="Shape 3358">
              <a:extLst>
                <a:ext uri="{FF2B5EF4-FFF2-40B4-BE49-F238E27FC236}">
                  <a16:creationId xmlns:a16="http://schemas.microsoft.com/office/drawing/2014/main" id="{CE723ADE-F70C-4D83-B7C5-44A57D5EE023}"/>
                </a:ext>
              </a:extLst>
            </p:cNvPr>
            <p:cNvSpPr/>
            <p:nvPr/>
          </p:nvSpPr>
          <p:spPr>
            <a:xfrm rot="10800000">
              <a:off x="7081071" y="5742198"/>
              <a:ext cx="232418" cy="2180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4894" y="21600"/>
                    <a:pt x="0" y="16706"/>
                    <a:pt x="0" y="10800"/>
                  </a:cubicBezTo>
                  <a:cubicBezTo>
                    <a:pt x="0" y="4894"/>
                    <a:pt x="4894" y="0"/>
                    <a:pt x="10800" y="0"/>
                  </a:cubicBezTo>
                  <a:cubicBezTo>
                    <a:pt x="16706" y="0"/>
                    <a:pt x="21600" y="4894"/>
                    <a:pt x="21600" y="10800"/>
                  </a:cubicBezTo>
                  <a:cubicBezTo>
                    <a:pt x="21600" y="16706"/>
                    <a:pt x="16706" y="21600"/>
                    <a:pt x="10800" y="21600"/>
                  </a:cubicBezTo>
                  <a:close/>
                  <a:moveTo>
                    <a:pt x="10800" y="1350"/>
                  </a:moveTo>
                  <a:cubicBezTo>
                    <a:pt x="5569" y="1350"/>
                    <a:pt x="1350" y="5569"/>
                    <a:pt x="1350" y="10800"/>
                  </a:cubicBezTo>
                  <a:cubicBezTo>
                    <a:pt x="1350" y="16031"/>
                    <a:pt x="5569" y="20250"/>
                    <a:pt x="10800" y="20250"/>
                  </a:cubicBezTo>
                  <a:cubicBezTo>
                    <a:pt x="16031" y="20250"/>
                    <a:pt x="20250" y="16031"/>
                    <a:pt x="20250" y="10800"/>
                  </a:cubicBezTo>
                  <a:cubicBezTo>
                    <a:pt x="20250" y="5569"/>
                    <a:pt x="16031" y="1350"/>
                    <a:pt x="10800" y="1350"/>
                  </a:cubicBezTo>
                  <a:close/>
                  <a:moveTo>
                    <a:pt x="10800" y="14850"/>
                  </a:moveTo>
                  <a:cubicBezTo>
                    <a:pt x="10631" y="14850"/>
                    <a:pt x="10462" y="14850"/>
                    <a:pt x="10294" y="14681"/>
                  </a:cubicBezTo>
                  <a:cubicBezTo>
                    <a:pt x="10125" y="14512"/>
                    <a:pt x="10125" y="14344"/>
                    <a:pt x="10125" y="14175"/>
                  </a:cubicBezTo>
                  <a:cubicBezTo>
                    <a:pt x="10125" y="14006"/>
                    <a:pt x="10125" y="13838"/>
                    <a:pt x="10294" y="13669"/>
                  </a:cubicBezTo>
                  <a:cubicBezTo>
                    <a:pt x="10462" y="13669"/>
                    <a:pt x="10631" y="13500"/>
                    <a:pt x="10800" y="13500"/>
                  </a:cubicBezTo>
                  <a:cubicBezTo>
                    <a:pt x="10969" y="13500"/>
                    <a:pt x="11138" y="13669"/>
                    <a:pt x="11306" y="13669"/>
                  </a:cubicBezTo>
                  <a:cubicBezTo>
                    <a:pt x="11475" y="13838"/>
                    <a:pt x="11475" y="14006"/>
                    <a:pt x="11475" y="14175"/>
                  </a:cubicBezTo>
                  <a:cubicBezTo>
                    <a:pt x="11475" y="14344"/>
                    <a:pt x="11475" y="14512"/>
                    <a:pt x="11306" y="14681"/>
                  </a:cubicBezTo>
                  <a:cubicBezTo>
                    <a:pt x="11138" y="14850"/>
                    <a:pt x="10969" y="14850"/>
                    <a:pt x="10800" y="14850"/>
                  </a:cubicBezTo>
                  <a:close/>
                  <a:moveTo>
                    <a:pt x="10800" y="12150"/>
                  </a:moveTo>
                  <a:cubicBezTo>
                    <a:pt x="10462" y="12150"/>
                    <a:pt x="10125" y="11812"/>
                    <a:pt x="10125" y="11475"/>
                  </a:cubicBezTo>
                  <a:cubicBezTo>
                    <a:pt x="10125" y="7425"/>
                    <a:pt x="10125" y="7425"/>
                    <a:pt x="10125" y="7425"/>
                  </a:cubicBezTo>
                  <a:cubicBezTo>
                    <a:pt x="10125" y="7087"/>
                    <a:pt x="10462" y="6750"/>
                    <a:pt x="10800" y="6750"/>
                  </a:cubicBezTo>
                  <a:cubicBezTo>
                    <a:pt x="11138" y="6750"/>
                    <a:pt x="11475" y="7087"/>
                    <a:pt x="11475" y="7425"/>
                  </a:cubicBezTo>
                  <a:cubicBezTo>
                    <a:pt x="11475" y="11475"/>
                    <a:pt x="11475" y="11475"/>
                    <a:pt x="11475" y="11475"/>
                  </a:cubicBezTo>
                  <a:cubicBezTo>
                    <a:pt x="11475" y="11812"/>
                    <a:pt x="11138" y="12150"/>
                    <a:pt x="10800" y="12150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miter lim="400000"/>
            </a:ln>
          </p:spPr>
          <p:txBody>
            <a:bodyPr lIns="22860" rIns="22860"/>
            <a:lstStyle/>
            <a:p>
              <a:pPr marL="0" marR="0" lvl="0" indent="0" algn="l" defTabSz="12191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4800" spc="0">
                  <a:solidFill>
                    <a:srgbClr val="27282D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27282D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42" name="Shape 3426">
            <a:extLst>
              <a:ext uri="{FF2B5EF4-FFF2-40B4-BE49-F238E27FC236}">
                <a16:creationId xmlns:a16="http://schemas.microsoft.com/office/drawing/2014/main" id="{C0F71E9C-2E02-459D-8011-BFEA7615EA5E}"/>
              </a:ext>
            </a:extLst>
          </p:cNvPr>
          <p:cNvSpPr/>
          <p:nvPr/>
        </p:nvSpPr>
        <p:spPr>
          <a:xfrm>
            <a:off x="4231222" y="1072015"/>
            <a:ext cx="231341" cy="2180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00" h="21600" extrusionOk="0">
                <a:moveTo>
                  <a:pt x="21221" y="19913"/>
                </a:moveTo>
                <a:cubicBezTo>
                  <a:pt x="20377" y="21262"/>
                  <a:pt x="14977" y="21600"/>
                  <a:pt x="10758" y="21600"/>
                </a:cubicBezTo>
                <a:cubicBezTo>
                  <a:pt x="6539" y="21600"/>
                  <a:pt x="1139" y="21262"/>
                  <a:pt x="127" y="19913"/>
                </a:cubicBezTo>
                <a:cubicBezTo>
                  <a:pt x="-42" y="19575"/>
                  <a:pt x="-42" y="19069"/>
                  <a:pt x="127" y="18731"/>
                </a:cubicBezTo>
                <a:cubicBezTo>
                  <a:pt x="971" y="16200"/>
                  <a:pt x="2658" y="15525"/>
                  <a:pt x="4008" y="15356"/>
                </a:cubicBezTo>
                <a:cubicBezTo>
                  <a:pt x="5189" y="15188"/>
                  <a:pt x="6202" y="14850"/>
                  <a:pt x="6708" y="14512"/>
                </a:cubicBezTo>
                <a:cubicBezTo>
                  <a:pt x="6708" y="14344"/>
                  <a:pt x="6708" y="13331"/>
                  <a:pt x="6708" y="12656"/>
                </a:cubicBezTo>
                <a:cubicBezTo>
                  <a:pt x="5527" y="11306"/>
                  <a:pt x="4683" y="9281"/>
                  <a:pt x="4683" y="7425"/>
                </a:cubicBezTo>
                <a:cubicBezTo>
                  <a:pt x="4683" y="3375"/>
                  <a:pt x="6708" y="0"/>
                  <a:pt x="10758" y="0"/>
                </a:cubicBezTo>
                <a:cubicBezTo>
                  <a:pt x="14808" y="0"/>
                  <a:pt x="16833" y="3375"/>
                  <a:pt x="16833" y="7425"/>
                </a:cubicBezTo>
                <a:cubicBezTo>
                  <a:pt x="16833" y="9281"/>
                  <a:pt x="15989" y="11306"/>
                  <a:pt x="14808" y="12656"/>
                </a:cubicBezTo>
                <a:cubicBezTo>
                  <a:pt x="14808" y="12994"/>
                  <a:pt x="14808" y="13331"/>
                  <a:pt x="14808" y="14512"/>
                </a:cubicBezTo>
                <a:cubicBezTo>
                  <a:pt x="15314" y="14850"/>
                  <a:pt x="16327" y="15188"/>
                  <a:pt x="17508" y="15356"/>
                </a:cubicBezTo>
                <a:cubicBezTo>
                  <a:pt x="18858" y="15525"/>
                  <a:pt x="20546" y="16200"/>
                  <a:pt x="21389" y="18731"/>
                </a:cubicBezTo>
                <a:cubicBezTo>
                  <a:pt x="21558" y="19069"/>
                  <a:pt x="21558" y="19575"/>
                  <a:pt x="21221" y="19913"/>
                </a:cubicBezTo>
                <a:close/>
                <a:moveTo>
                  <a:pt x="15483" y="7425"/>
                </a:moveTo>
                <a:cubicBezTo>
                  <a:pt x="15483" y="4050"/>
                  <a:pt x="13964" y="1350"/>
                  <a:pt x="10758" y="1350"/>
                </a:cubicBezTo>
                <a:cubicBezTo>
                  <a:pt x="7552" y="1350"/>
                  <a:pt x="6033" y="4050"/>
                  <a:pt x="6033" y="7425"/>
                </a:cubicBezTo>
                <a:cubicBezTo>
                  <a:pt x="6033" y="10125"/>
                  <a:pt x="8227" y="13500"/>
                  <a:pt x="10758" y="13500"/>
                </a:cubicBezTo>
                <a:cubicBezTo>
                  <a:pt x="13289" y="13500"/>
                  <a:pt x="15483" y="10125"/>
                  <a:pt x="15483" y="7425"/>
                </a:cubicBezTo>
                <a:close/>
                <a:moveTo>
                  <a:pt x="17171" y="16706"/>
                </a:moveTo>
                <a:cubicBezTo>
                  <a:pt x="15989" y="16537"/>
                  <a:pt x="14808" y="16031"/>
                  <a:pt x="14133" y="15694"/>
                </a:cubicBezTo>
                <a:cubicBezTo>
                  <a:pt x="13458" y="15356"/>
                  <a:pt x="13458" y="15356"/>
                  <a:pt x="13458" y="15356"/>
                </a:cubicBezTo>
                <a:cubicBezTo>
                  <a:pt x="13458" y="15356"/>
                  <a:pt x="13458" y="14512"/>
                  <a:pt x="13458" y="14006"/>
                </a:cubicBezTo>
                <a:cubicBezTo>
                  <a:pt x="12614" y="14512"/>
                  <a:pt x="11771" y="14850"/>
                  <a:pt x="10758" y="14850"/>
                </a:cubicBezTo>
                <a:cubicBezTo>
                  <a:pt x="9746" y="14850"/>
                  <a:pt x="8902" y="14512"/>
                  <a:pt x="8058" y="14006"/>
                </a:cubicBezTo>
                <a:cubicBezTo>
                  <a:pt x="8058" y="14512"/>
                  <a:pt x="8058" y="15356"/>
                  <a:pt x="8058" y="15356"/>
                </a:cubicBezTo>
                <a:cubicBezTo>
                  <a:pt x="7383" y="15694"/>
                  <a:pt x="7383" y="15694"/>
                  <a:pt x="7383" y="15694"/>
                </a:cubicBezTo>
                <a:cubicBezTo>
                  <a:pt x="6708" y="16031"/>
                  <a:pt x="5527" y="16537"/>
                  <a:pt x="4177" y="16706"/>
                </a:cubicBezTo>
                <a:cubicBezTo>
                  <a:pt x="3164" y="16875"/>
                  <a:pt x="2152" y="17213"/>
                  <a:pt x="1308" y="19069"/>
                </a:cubicBezTo>
                <a:cubicBezTo>
                  <a:pt x="1308" y="19237"/>
                  <a:pt x="2489" y="20250"/>
                  <a:pt x="10758" y="20250"/>
                </a:cubicBezTo>
                <a:cubicBezTo>
                  <a:pt x="19027" y="20250"/>
                  <a:pt x="20039" y="19237"/>
                  <a:pt x="20208" y="19069"/>
                </a:cubicBezTo>
                <a:cubicBezTo>
                  <a:pt x="19364" y="17213"/>
                  <a:pt x="18183" y="16875"/>
                  <a:pt x="17171" y="16706"/>
                </a:cubicBezTo>
                <a:close/>
              </a:path>
            </a:pathLst>
          </a:custGeom>
          <a:gradFill>
            <a:gsLst>
              <a:gs pos="100000">
                <a:schemeClr val="accent6">
                  <a:lumMod val="75000"/>
                </a:schemeClr>
              </a:gs>
              <a:gs pos="0">
                <a:schemeClr val="accent2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0" scaled="1"/>
          </a:gradFill>
          <a:ln w="12700">
            <a:miter lim="400000"/>
          </a:ln>
        </p:spPr>
        <p:txBody>
          <a:bodyPr lIns="22860" rIns="22860"/>
          <a:lstStyle/>
          <a:p>
            <a:pPr marL="0" marR="0" lvl="0" indent="0" algn="l" defTabSz="12191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 spc="0">
                <a:solidFill>
                  <a:srgbClr val="27282D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27282D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ABF87FC-3756-413D-B129-803AC9DC104A}"/>
              </a:ext>
            </a:extLst>
          </p:cNvPr>
          <p:cNvSpPr txBox="1"/>
          <p:nvPr/>
        </p:nvSpPr>
        <p:spPr>
          <a:xfrm>
            <a:off x="4186492" y="1335039"/>
            <a:ext cx="2753875" cy="4339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Sell-in price promotion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GB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10% promotional discount for stocking orders</a:t>
            </a:r>
            <a:r>
              <a:rPr lang="en-GB" sz="1050" baseline="3000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*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endParaRPr lang="en-US" sz="8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Sell-out promotion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3M provided prize-draw incentive to end-users who purchase a promotional pack &amp; complete an online survey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Details will be included in all regular 4000+ SKUs</a:t>
            </a:r>
            <a:endParaRPr lang="en-US" sz="1050" baseline="300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 lvl="0">
              <a:defRPr/>
            </a:pPr>
            <a:endParaRPr lang="en-US" sz="8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 lvl="0">
              <a:defRPr/>
            </a:pPr>
            <a:r>
              <a:rPr lang="en-US" sz="110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Channel Partner Inside Sales teams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Leverage activation pack &amp; call script to target SMEs</a:t>
            </a:r>
          </a:p>
          <a:p>
            <a:pPr lvl="0">
              <a:defRPr/>
            </a:pPr>
            <a:endParaRPr lang="en-US" sz="8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Channel Partner Own Media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Use web banners provided for online shop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Leverage email assets to create a targeted campaign to SME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8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>
              <a:defRPr/>
            </a:pPr>
            <a:r>
              <a:rPr lang="en-US" sz="100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Paid Media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Use MDF budget to promote assets provided, targeting tradespeople e.g. local radio, press, social media</a:t>
            </a:r>
          </a:p>
          <a:p>
            <a:pPr marL="171450" indent="-171450">
              <a:buFont typeface="Wingdings" panose="05000000000000000000" pitchFamily="2" charset="2"/>
              <a:buChar char="§"/>
              <a:defRPr/>
            </a:pPr>
            <a:endParaRPr lang="en-US" sz="800" dirty="0">
              <a:solidFill>
                <a:prstClr val="black"/>
              </a:solidFill>
              <a:latin typeface="3M Circular TT Light" panose="020B0604020101020102" pitchFamily="34" charset="77"/>
              <a:cs typeface="3M Circular TT Light" panose="020B0604020101020102" pitchFamily="34" charset="77"/>
            </a:endParaRPr>
          </a:p>
          <a:p>
            <a:pPr lvl="0">
              <a:defRPr/>
            </a:pPr>
            <a:r>
              <a:rPr lang="en-US" sz="1050" dirty="0">
                <a:solidFill>
                  <a:prstClr val="black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rPr>
              <a:t>Channel Partner stores</a:t>
            </a:r>
          </a:p>
          <a:p>
            <a:pPr marL="171450" lvl="0" indent="-171450">
              <a:buFont typeface="Wingdings" panose="05000000000000000000" pitchFamily="2" charset="2"/>
              <a:buChar char="§"/>
              <a:defRPr/>
            </a:pPr>
            <a:r>
              <a:rPr lang="en-US" sz="1050" dirty="0">
                <a:solidFill>
                  <a:prstClr val="black"/>
                </a:solidFill>
                <a:latin typeface="3M Circular TT Light" panose="020B0604020101020102" pitchFamily="34" charset="77"/>
                <a:cs typeface="3M Circular TT Light" panose="020B0604020101020102" pitchFamily="34" charset="77"/>
              </a:rPr>
              <a:t>Leverage in-store pack to position 4000+ next to adjacent produc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F03A32-77C4-4A31-901A-BE3DBBD20818}"/>
              </a:ext>
            </a:extLst>
          </p:cNvPr>
          <p:cNvSpPr txBox="1"/>
          <p:nvPr/>
        </p:nvSpPr>
        <p:spPr>
          <a:xfrm>
            <a:off x="8431619" y="6485434"/>
            <a:ext cx="320574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100" baseline="30000" dirty="0">
                <a:effectLst/>
                <a:latin typeface="3M Circular TT Light" panose="020B0404020101020102" pitchFamily="34" charset="0"/>
                <a:ea typeface="Calibri" panose="020F0502020204030204" pitchFamily="34" charset="0"/>
                <a:cs typeface="3M Circular TT Light" panose="020B0404020101020102" pitchFamily="34" charset="0"/>
              </a:rPr>
              <a:t>*</a:t>
            </a:r>
            <a:r>
              <a:rPr lang="en-GB" sz="1050" dirty="0">
                <a:effectLst/>
                <a:latin typeface="3M Circular TT Light" panose="020B0404020101020102" pitchFamily="34" charset="0"/>
                <a:ea typeface="Calibri" panose="020F0502020204030204" pitchFamily="34" charset="0"/>
                <a:cs typeface="3M Circular TT Light" panose="020B0404020101020102" pitchFamily="34" charset="0"/>
              </a:rPr>
              <a:t>subject to change, depending upon market conditions</a:t>
            </a:r>
            <a:endParaRPr lang="en-GB" sz="1100" dirty="0">
              <a:latin typeface="3M Circular TT Light" panose="020B0404020101020102" pitchFamily="34" charset="0"/>
              <a:cs typeface="3M Circular TT Light" panose="020B0404020101020102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B0ECD6-9887-42B9-8BFA-A04602A3E859}"/>
              </a:ext>
            </a:extLst>
          </p:cNvPr>
          <p:cNvSpPr txBox="1"/>
          <p:nvPr/>
        </p:nvSpPr>
        <p:spPr>
          <a:xfrm>
            <a:off x="7106109" y="1381995"/>
            <a:ext cx="460004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Prize draw promotional flyer - included in product packaging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Print advert / catalogue page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Sticker for product packaging / in-store display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Promotional leaflet (A4)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Shelf barker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Web banners (250 x 250, 600 x 300, 1200 x 600)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POS stand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Email asset pack (copy, images, subject lines)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Social media asset pack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lang="en-US" sz="1100" dirty="0">
                <a:solidFill>
                  <a:prstClr val="black"/>
                </a:solidFill>
                <a:latin typeface="3M Circular TT Light" panose="020B0404020101020102" pitchFamily="34" charset="-18"/>
                <a:cs typeface="3M Circular TT Light" panose="020B0404020101020102" pitchFamily="34" charset="-18"/>
              </a:rPr>
              <a:t>Inside sales call scrip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7AA857-5ABA-4237-97DE-57C490E764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5077" y="3216438"/>
            <a:ext cx="1627037" cy="22641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565D30E-F2F0-4E96-9C52-F967B337DE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9608" y="4447945"/>
            <a:ext cx="2038635" cy="10478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5AA04E3-2936-4C37-B7C8-B8BA38565CF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01" t="2147" r="5235" b="7575"/>
          <a:stretch/>
        </p:blipFill>
        <p:spPr>
          <a:xfrm>
            <a:off x="8911234" y="3216438"/>
            <a:ext cx="1147166" cy="1130142"/>
          </a:xfrm>
          <a:prstGeom prst="ellipse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E5F695-EFF1-423A-82DF-1E0564D0820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1688" y="3134100"/>
            <a:ext cx="1225549" cy="1289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507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73DB85-64CD-4636-BC0A-3BB1898E5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ocalised Asse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C03E3A-C7FA-4317-9532-11F4EDFD0DB8}"/>
              </a:ext>
            </a:extLst>
          </p:cNvPr>
          <p:cNvSpPr txBox="1"/>
          <p:nvPr/>
        </p:nvSpPr>
        <p:spPr>
          <a:xfrm>
            <a:off x="379412" y="1202373"/>
            <a:ext cx="1108949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/>
              <a:t>Assets are available to download from a dedicated assets collection link. If you require any assistance, contact your 3M representative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E93301-9387-4A05-B760-FB141FCEA710}"/>
              </a:ext>
            </a:extLst>
          </p:cNvPr>
          <p:cNvSpPr txBox="1"/>
          <p:nvPr/>
        </p:nvSpPr>
        <p:spPr>
          <a:xfrm>
            <a:off x="379412" y="2025333"/>
            <a:ext cx="9601988" cy="42175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GB" sz="2000" dirty="0"/>
              <a:t>EN (GB): </a:t>
            </a:r>
            <a:r>
              <a:rPr lang="en-GB" dirty="0">
                <a:hlinkClick r:id="rId2"/>
              </a:rPr>
              <a:t>http://gpimmediacollections.3m.com/dmrweb/servlet/Album?albumId=5820514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FR: </a:t>
            </a:r>
            <a:r>
              <a:rPr lang="en-GB" dirty="0">
                <a:hlinkClick r:id="rId3"/>
              </a:rPr>
              <a:t>http://gpimmediacollections.3m.com/dmrweb/servlet/Album?albumId=5821021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IT: </a:t>
            </a:r>
            <a:r>
              <a:rPr lang="en-GB" dirty="0">
                <a:hlinkClick r:id="rId4"/>
              </a:rPr>
              <a:t>http://gpimmediacollections.3m.com/dmrweb/servlet/Album?albumId=5821023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DE: </a:t>
            </a:r>
            <a:r>
              <a:rPr lang="en-GB" dirty="0">
                <a:hlinkClick r:id="rId5"/>
              </a:rPr>
              <a:t>http://gpimmediacollections.3m.com/dmrweb/servlet/Album?albumId=5821022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ES: </a:t>
            </a:r>
            <a:r>
              <a:rPr lang="en-GB" dirty="0">
                <a:hlinkClick r:id="rId6"/>
              </a:rPr>
              <a:t>http://gpimmediacollections.3m.com/dmrweb/servlet/Album?albumId=5821025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NL: </a:t>
            </a:r>
            <a:r>
              <a:rPr lang="en-GB" dirty="0">
                <a:hlinkClick r:id="rId7"/>
              </a:rPr>
              <a:t>http://gpimmediacollections.3m.com/dmrweb/servlet/Album?albumId=5821026</a:t>
            </a:r>
            <a:endParaRPr lang="en-GB" sz="2000" dirty="0"/>
          </a:p>
          <a:p>
            <a:pPr>
              <a:lnSpc>
                <a:spcPct val="200000"/>
              </a:lnSpc>
            </a:pPr>
            <a:r>
              <a:rPr lang="en-GB" sz="2000" dirty="0"/>
              <a:t>SE: </a:t>
            </a:r>
            <a:r>
              <a:rPr lang="en-GB" dirty="0">
                <a:hlinkClick r:id="rId8"/>
              </a:rPr>
              <a:t>http://gpimmediacollections.3m.com/dmrweb/servlet/Album?albumId=5820997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59202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68043450-D9AC-494A-87E8-80B6C7D045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27370"/>
              </p:ext>
            </p:extLst>
          </p:nvPr>
        </p:nvGraphicFramePr>
        <p:xfrm>
          <a:off x="3445175" y="1248924"/>
          <a:ext cx="6033156" cy="242608"/>
        </p:xfrm>
        <a:graphic>
          <a:graphicData uri="http://schemas.openxmlformats.org/drawingml/2006/table">
            <a:tbl>
              <a:tblPr firstRow="1" bandRow="1"/>
              <a:tblGrid>
                <a:gridCol w="502763">
                  <a:extLst>
                    <a:ext uri="{9D8B030D-6E8A-4147-A177-3AD203B41FA5}">
                      <a16:colId xmlns:a16="http://schemas.microsoft.com/office/drawing/2014/main" val="2750718668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4078642078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270217189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2598747362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3679821113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3073737635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873007632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1469573126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1788546739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3102648711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245864263"/>
                    </a:ext>
                  </a:extLst>
                </a:gridCol>
                <a:gridCol w="502763">
                  <a:extLst>
                    <a:ext uri="{9D8B030D-6E8A-4147-A177-3AD203B41FA5}">
                      <a16:colId xmlns:a16="http://schemas.microsoft.com/office/drawing/2014/main" val="4034195155"/>
                    </a:ext>
                  </a:extLst>
                </a:gridCol>
              </a:tblGrid>
              <a:tr h="2426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JA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FEB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MA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AP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MAY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JUN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JUL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AUG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SEP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OCT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NOV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3M Circular TT Book"/>
                        </a:defRPr>
                      </a:lvl9pPr>
                    </a:lstStyle>
                    <a:p>
                      <a:pPr algn="ctr"/>
                      <a:r>
                        <a:rPr lang="en-US" sz="800" b="0" i="0" dirty="0">
                          <a:solidFill>
                            <a:schemeClr val="tx1"/>
                          </a:solidFill>
                          <a:latin typeface="3M Circular TT Light" panose="020B0404020101020102" pitchFamily="34" charset="77"/>
                          <a:cs typeface="3M Circular TT Light" panose="020B0404020101020102" pitchFamily="34" charset="77"/>
                        </a:rPr>
                        <a:t>DEC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334865"/>
                  </a:ext>
                </a:extLst>
              </a:tr>
            </a:tbl>
          </a:graphicData>
        </a:graphic>
      </p:graphicFrame>
      <p:sp>
        <p:nvSpPr>
          <p:cNvPr id="97" name="Rectangle 96">
            <a:extLst>
              <a:ext uri="{FF2B5EF4-FFF2-40B4-BE49-F238E27FC236}">
                <a16:creationId xmlns:a16="http://schemas.microsoft.com/office/drawing/2014/main" id="{CCB984E9-81AA-4556-9F8C-534047BCEF11}"/>
              </a:ext>
            </a:extLst>
          </p:cNvPr>
          <p:cNvSpPr/>
          <p:nvPr/>
        </p:nvSpPr>
        <p:spPr>
          <a:xfrm>
            <a:off x="511809" y="1578073"/>
            <a:ext cx="2875805" cy="1335756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7D2F5C5-F4C0-4BC5-9DD7-06F3DF11F2CA}"/>
              </a:ext>
            </a:extLst>
          </p:cNvPr>
          <p:cNvSpPr txBox="1"/>
          <p:nvPr/>
        </p:nvSpPr>
        <p:spPr>
          <a:xfrm>
            <a:off x="511809" y="1644936"/>
            <a:ext cx="269792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Sell-in price promotion (10% discount)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C18B6434-0D63-4B8B-8BAE-455AB18CD2BA}"/>
              </a:ext>
            </a:extLst>
          </p:cNvPr>
          <p:cNvSpPr txBox="1"/>
          <p:nvPr/>
        </p:nvSpPr>
        <p:spPr>
          <a:xfrm>
            <a:off x="660137" y="2305788"/>
            <a:ext cx="25354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Prize draw marketing assets available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F0ADA3A-2371-4FDE-8BD9-8B76EFFB68EF}"/>
              </a:ext>
            </a:extLst>
          </p:cNvPr>
          <p:cNvSpPr txBox="1"/>
          <p:nvPr/>
        </p:nvSpPr>
        <p:spPr>
          <a:xfrm>
            <a:off x="651039" y="2632341"/>
            <a:ext cx="253548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604020101020102" pitchFamily="34" charset="77"/>
                <a:ea typeface="+mn-ea"/>
                <a:cs typeface="3M Circular TT Light" panose="020B0604020101020102" pitchFamily="34" charset="77"/>
              </a:rPr>
              <a:t>I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604020101020102" pitchFamily="34" charset="77"/>
                <a:ea typeface="+mn-ea"/>
                <a:cs typeface="3M Circular TT Light" panose="020B0604020101020102" pitchFamily="34" charset="77"/>
              </a:rPr>
              <a:t>n-store </a:t>
            </a: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604020101020102" pitchFamily="34" charset="77"/>
                <a:ea typeface="+mn-ea"/>
                <a:cs typeface="3M Circular TT Light" panose="020B0604020101020102" pitchFamily="34" charset="77"/>
              </a:rPr>
              <a:t>displays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604020101020102" pitchFamily="34" charset="77"/>
                <a:ea typeface="+mn-ea"/>
                <a:cs typeface="3M Circular TT Light" panose="020B0604020101020102" pitchFamily="34" charset="77"/>
              </a:rPr>
              <a:t> available (POS displays, shelf barkers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106" name="Rounded Rectangle 239">
            <a:extLst>
              <a:ext uri="{FF2B5EF4-FFF2-40B4-BE49-F238E27FC236}">
                <a16:creationId xmlns:a16="http://schemas.microsoft.com/office/drawing/2014/main" id="{81415804-FA2E-4F95-9242-0C039D749FF5}"/>
              </a:ext>
            </a:extLst>
          </p:cNvPr>
          <p:cNvSpPr/>
          <p:nvPr/>
        </p:nvSpPr>
        <p:spPr>
          <a:xfrm>
            <a:off x="5967262" y="2018655"/>
            <a:ext cx="3432227" cy="10757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7FE0D4EF-30B9-4113-8B91-2F5EA592AABF}"/>
              </a:ext>
            </a:extLst>
          </p:cNvPr>
          <p:cNvSpPr txBox="1"/>
          <p:nvPr/>
        </p:nvSpPr>
        <p:spPr>
          <a:xfrm>
            <a:off x="3445175" y="1033096"/>
            <a:ext cx="6033156" cy="169277"/>
          </a:xfrm>
          <a:prstGeom prst="rect">
            <a:avLst/>
          </a:prstGeom>
          <a:solidFill>
            <a:srgbClr val="FFFFFF">
              <a:lumMod val="95000"/>
            </a:srgbClr>
          </a:solidFill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2022</a:t>
            </a:r>
          </a:p>
        </p:txBody>
      </p:sp>
      <p:sp>
        <p:nvSpPr>
          <p:cNvPr id="118" name="Rounded Rectangle 239">
            <a:extLst>
              <a:ext uri="{FF2B5EF4-FFF2-40B4-BE49-F238E27FC236}">
                <a16:creationId xmlns:a16="http://schemas.microsoft.com/office/drawing/2014/main" id="{87D1BA91-0EE6-45E5-8798-00EDD6B90845}"/>
              </a:ext>
            </a:extLst>
          </p:cNvPr>
          <p:cNvSpPr/>
          <p:nvPr/>
        </p:nvSpPr>
        <p:spPr>
          <a:xfrm>
            <a:off x="5978162" y="1685649"/>
            <a:ext cx="609600" cy="12861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A0B3B6F-96AB-44FA-8E0D-0E96E90496DE}"/>
              </a:ext>
            </a:extLst>
          </p:cNvPr>
          <p:cNvSpPr txBox="1"/>
          <p:nvPr/>
        </p:nvSpPr>
        <p:spPr>
          <a:xfrm>
            <a:off x="681970" y="1989161"/>
            <a:ext cx="253548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Sell-out prize draw active</a:t>
            </a:r>
            <a:endParaRPr kumimoji="0" lang="pl-PL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43" name="Rounded Rectangle 239">
            <a:extLst>
              <a:ext uri="{FF2B5EF4-FFF2-40B4-BE49-F238E27FC236}">
                <a16:creationId xmlns:a16="http://schemas.microsoft.com/office/drawing/2014/main" id="{879B5F84-A353-411F-A000-5BB6CD13D5EF}"/>
              </a:ext>
            </a:extLst>
          </p:cNvPr>
          <p:cNvSpPr/>
          <p:nvPr/>
        </p:nvSpPr>
        <p:spPr>
          <a:xfrm>
            <a:off x="5721531" y="2330626"/>
            <a:ext cx="3692171" cy="129049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</a:p>
        </p:txBody>
      </p:sp>
      <p:sp>
        <p:nvSpPr>
          <p:cNvPr id="44" name="Rounded Rectangle 239">
            <a:extLst>
              <a:ext uri="{FF2B5EF4-FFF2-40B4-BE49-F238E27FC236}">
                <a16:creationId xmlns:a16="http://schemas.microsoft.com/office/drawing/2014/main" id="{7543F602-C3BB-4632-B3ED-1F8C75EAB1D3}"/>
              </a:ext>
            </a:extLst>
          </p:cNvPr>
          <p:cNvSpPr/>
          <p:nvPr/>
        </p:nvSpPr>
        <p:spPr>
          <a:xfrm>
            <a:off x="5981475" y="2642599"/>
            <a:ext cx="3432227" cy="12057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8167E255-2F67-4698-B187-A966C4DF556F}"/>
              </a:ext>
            </a:extLst>
          </p:cNvPr>
          <p:cNvSpPr txBox="1">
            <a:spLocks/>
          </p:cNvSpPr>
          <p:nvPr/>
        </p:nvSpPr>
        <p:spPr>
          <a:xfrm>
            <a:off x="379412" y="379413"/>
            <a:ext cx="11425237" cy="82296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Timeline &amp; Key Performance Indicators</a:t>
            </a:r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06E56A78-1652-4187-B0F0-04CBC8C4EC4D}"/>
              </a:ext>
            </a:extLst>
          </p:cNvPr>
          <p:cNvSpPr txBox="1">
            <a:spLocks/>
          </p:cNvSpPr>
          <p:nvPr/>
        </p:nvSpPr>
        <p:spPr>
          <a:xfrm>
            <a:off x="511809" y="3363080"/>
            <a:ext cx="10715536" cy="33268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182563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14325" indent="-1317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3075" indent="-115888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2938" indent="-103188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6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Some flexibility to timings may be possible.  Please discuss any preferences with your account manager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9D6EA3-E587-4ED9-B1B5-EF604F4BDF4C}"/>
              </a:ext>
            </a:extLst>
          </p:cNvPr>
          <p:cNvSpPr txBox="1"/>
          <p:nvPr/>
        </p:nvSpPr>
        <p:spPr>
          <a:xfrm>
            <a:off x="529724" y="4118726"/>
            <a:ext cx="11124611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000" b="1" u="sng" dirty="0">
                <a:cs typeface="3M Circular TT Light" panose="020B0404020101020102" pitchFamily="34" charset="0"/>
              </a:rPr>
              <a:t>Suggested KP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cs typeface="3M Circular TT Light" panose="020B0404020101020102" pitchFamily="34" charset="0"/>
              </a:rPr>
              <a:t>Order value during promotional perio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cs typeface="3M Circular TT Light" panose="020B0404020101020102" pitchFamily="34" charset="0"/>
              </a:rPr>
              <a:t>Sell-out value vs. previous yea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cs typeface="3M Circular TT Light" panose="020B0404020101020102" pitchFamily="34" charset="0"/>
              </a:rPr>
              <a:t>Engagement (impressions, CTR etc.) with digital marketing asse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cs typeface="3M Circular TT Light" panose="020B0404020101020102" pitchFamily="34" charset="0"/>
              </a:rPr>
              <a:t>Number of stores deploying in-store marketing assets &amp; store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>
                <a:cs typeface="3M Circular TT Light" panose="020B0404020101020102" pitchFamily="34" charset="0"/>
              </a:rPr>
              <a:t>Inside sales opportunities</a:t>
            </a:r>
          </a:p>
        </p:txBody>
      </p:sp>
    </p:spTree>
    <p:extLst>
      <p:ext uri="{BB962C8B-B14F-4D97-AF65-F5344CB8AC3E}">
        <p14:creationId xmlns:p14="http://schemas.microsoft.com/office/powerpoint/2010/main" val="1762636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E5DC74-B5C7-4B38-820E-44B74595FD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238720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F69F210-832A-40F6-89CF-3FE0C09BE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enefits of activating this programm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C9CA5ED-B769-4C95-AA68-CA87E98E8059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8516937" y="1557338"/>
            <a:ext cx="3295650" cy="33547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dirty="0"/>
              <a:t>“…</a:t>
            </a:r>
            <a:r>
              <a:rPr lang="en-GB" sz="1800" b="0" i="0" dirty="0">
                <a:effectLst/>
              </a:rPr>
              <a:t>in 2015, 17% of workers in the EU reported being exposed to chemical products or substances for at least a quarter of their working time…and 15 % report breathing in </a:t>
            </a:r>
            <a:r>
              <a:rPr lang="en-GB" sz="1800" b="0" i="0" u="none" strike="noStrike" dirty="0">
                <a:effectLst/>
              </a:rPr>
              <a:t>smoke, fumes, powder or dust</a:t>
            </a:r>
            <a:r>
              <a:rPr lang="en-GB" sz="1800" b="0" i="0" dirty="0">
                <a:effectLst/>
              </a:rPr>
              <a:t> at work”</a:t>
            </a:r>
          </a:p>
          <a:p>
            <a:endParaRPr lang="en-GB" sz="1800" dirty="0"/>
          </a:p>
          <a:p>
            <a:r>
              <a:rPr lang="en-GB" sz="1400" dirty="0"/>
              <a:t>- European Agency for Safety and Health at Wor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5D6239-48C4-4493-9F57-D5A4F2F577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413" y="1882777"/>
            <a:ext cx="5279349" cy="151696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C75453-D84C-49D5-B228-B25691208816}"/>
              </a:ext>
            </a:extLst>
          </p:cNvPr>
          <p:cNvSpPr txBox="1"/>
          <p:nvPr/>
        </p:nvSpPr>
        <p:spPr>
          <a:xfrm>
            <a:off x="379413" y="3523642"/>
            <a:ext cx="52793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b="1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Source: </a:t>
            </a:r>
            <a:r>
              <a:rPr lang="en-GB" sz="12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Employees needing &amp; using RR data extracted from PSD market benchmarking tool.  Data is sourced from external sources (i.e. employment statistics) and 3M internal assessment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787F29-F208-4614-BF4D-17D2115B869D}"/>
              </a:ext>
            </a:extLst>
          </p:cNvPr>
          <p:cNvSpPr txBox="1"/>
          <p:nvPr/>
        </p:nvSpPr>
        <p:spPr>
          <a:xfrm>
            <a:off x="379412" y="1020080"/>
            <a:ext cx="772372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>
                <a:cs typeface="3M Circular TT Light" panose="020B0404020101020102" pitchFamily="34" charset="0"/>
              </a:rPr>
              <a:t>3M estimates that approximately </a:t>
            </a:r>
            <a:r>
              <a:rPr lang="en-GB" sz="2000" b="1" dirty="0">
                <a:solidFill>
                  <a:schemeClr val="accent2"/>
                </a:solidFill>
                <a:cs typeface="3M Circular TT Light" panose="020B0404020101020102" pitchFamily="34" charset="0"/>
              </a:rPr>
              <a:t>58% </a:t>
            </a:r>
            <a:r>
              <a:rPr lang="en-GB" sz="2000" dirty="0">
                <a:cs typeface="3M Circular TT Light" panose="020B0404020101020102" pitchFamily="34" charset="0"/>
              </a:rPr>
              <a:t>of employees in EMEA who need to use a reusable respirator for work </a:t>
            </a:r>
            <a:r>
              <a:rPr lang="en-GB" sz="2000" u="sng" dirty="0">
                <a:cs typeface="3M Circular TT Light" panose="020B0404020101020102" pitchFamily="34" charset="0"/>
              </a:rPr>
              <a:t>are not fully compliant</a:t>
            </a:r>
            <a:r>
              <a:rPr lang="en-GB" sz="2000" dirty="0">
                <a:cs typeface="3M Circular TT Light" panose="020B0404020101020102" pitchFamily="34" charset="0"/>
              </a:rPr>
              <a:t>. 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A6E182-6F48-42A1-9EAD-2811120A5B1F}"/>
              </a:ext>
            </a:extLst>
          </p:cNvPr>
          <p:cNvSpPr txBox="1"/>
          <p:nvPr/>
        </p:nvSpPr>
        <p:spPr>
          <a:xfrm>
            <a:off x="379413" y="4621074"/>
            <a:ext cx="5184254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>
                <a:cs typeface="3M Circular TT Light" panose="020B0404020101020102" pitchFamily="34" charset="0"/>
              </a:rPr>
              <a:t>The 3M™ Maintenance Free Reusable Respirator 4000+ Series is an easy-to-use, convenient product that is an ideal solution to help improve compliance &amp; grow the market for respiratory protection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AD25B0C-7DED-4D68-9F89-7377F0D14B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6890" y="4621074"/>
            <a:ext cx="2522879" cy="153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27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A33FB0-62D4-40AB-9F09-058090BF52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0611" y="689264"/>
            <a:ext cx="3292379" cy="329237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24B5BB4-B905-4D81-A4FA-206CCE8602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994" b="39590"/>
          <a:stretch/>
        </p:blipFill>
        <p:spPr>
          <a:xfrm>
            <a:off x="709453" y="4957791"/>
            <a:ext cx="4714696" cy="1313895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CF8A349F-C8A5-41E8-A528-12F976D87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makes the 4000+ better than other solutions?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66EAFD9-C473-4F48-948C-CD6279471B26}"/>
              </a:ext>
            </a:extLst>
          </p:cNvPr>
          <p:cNvSpPr txBox="1"/>
          <p:nvPr/>
        </p:nvSpPr>
        <p:spPr>
          <a:xfrm>
            <a:off x="5883230" y="974590"/>
            <a:ext cx="5812381" cy="538609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b="1" dirty="0">
                <a:cs typeface="3M Circular TT Light" panose="020B0404020101020102" pitchFamily="34" charset="0"/>
              </a:rPr>
              <a:t>Wear comf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Soft and flexible face se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Lightweight and well-balanced mas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Low-profile and ergonomic design for optimal field of vi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Easily adjustable straps for secure, comfortable fit</a:t>
            </a:r>
          </a:p>
          <a:p>
            <a:endParaRPr lang="en-GB" sz="1600" dirty="0">
              <a:cs typeface="3M Circular TT Light" panose="020B0404020101020102" pitchFamily="34" charset="0"/>
            </a:endParaRPr>
          </a:p>
          <a:p>
            <a:r>
              <a:rPr lang="en-GB" sz="1600" b="1" dirty="0">
                <a:cs typeface="3M Circular TT Light" panose="020B0404020101020102" pitchFamily="34" charset="0"/>
              </a:rPr>
              <a:t>Breathing comf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New enhanced valve assembly reduces breathing resistance by over 30%*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Designed with 3M’s electret particulate filter material to help achieve low breathing resistance</a:t>
            </a:r>
          </a:p>
          <a:p>
            <a:endParaRPr lang="en-GB" sz="1600" b="1" dirty="0">
              <a:cs typeface="3M Circular TT Light" panose="020B0404020101020102" pitchFamily="34" charset="0"/>
            </a:endParaRPr>
          </a:p>
          <a:p>
            <a:r>
              <a:rPr lang="en-GB" sz="1600" b="1" dirty="0">
                <a:cs typeface="3M Circular TT Light" panose="020B0404020101020102" pitchFamily="34" charset="0"/>
              </a:rPr>
              <a:t>Convenient to 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Ready-to-use, maintenance-free construction with integrated fil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Designed to suit eyewear and hearing protection from 3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Resealable bag provides convenient and clean storage between uses</a:t>
            </a:r>
          </a:p>
          <a:p>
            <a:endParaRPr lang="en-GB" sz="1600" dirty="0">
              <a:cs typeface="3M Circular TT Light" panose="020B0404020101020102" pitchFamily="34" charset="0"/>
            </a:endParaRPr>
          </a:p>
          <a:p>
            <a:r>
              <a:rPr lang="en-GB" sz="1000" dirty="0">
                <a:cs typeface="3M Circular TT Light" panose="020B0404020101020102" pitchFamily="34" charset="0"/>
              </a:rPr>
              <a:t>*Exhalation breathing resistance of 3M™ 4000+ reduced by &gt;30% for 120 lpm peak exhalation flow and &gt;35% for 160 lpm compared to 3M™ 4000 Series.  Results measured by 3M in 2017 under laboratory conditions. Breathing rates shown as an example only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2C75BE-AA29-43E8-B51D-F92CFC5F1CAF}"/>
              </a:ext>
            </a:extLst>
          </p:cNvPr>
          <p:cNvSpPr txBox="1"/>
          <p:nvPr/>
        </p:nvSpPr>
        <p:spPr>
          <a:xfrm>
            <a:off x="1177580" y="5060740"/>
            <a:ext cx="400413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  <a:cs typeface="3M Circular TT Light" panose="020B0404020101020102" pitchFamily="34" charset="0"/>
              </a:rPr>
              <a:t>The 3M™ Maintenance Free Reusable Respirator 4000+ Series helps to overcome some of the common objections to wearing RPE.</a:t>
            </a:r>
          </a:p>
        </p:txBody>
      </p:sp>
      <p:pic>
        <p:nvPicPr>
          <p:cNvPr id="3074" name="Picture 2" descr="3M 4277+ Reusable Half Mask Respirator | Safety Supplies">
            <a:extLst>
              <a:ext uri="{FF2B5EF4-FFF2-40B4-BE49-F238E27FC236}">
                <a16:creationId xmlns:a16="http://schemas.microsoft.com/office/drawing/2014/main" id="{A385A1CB-B2A3-484C-8998-5C2EF661E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407" y="3770716"/>
            <a:ext cx="822960" cy="822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4F1CAD4-04F4-4E5C-BCE0-EC72F9EF375E}"/>
              </a:ext>
            </a:extLst>
          </p:cNvPr>
          <p:cNvSpPr txBox="1"/>
          <p:nvPr/>
        </p:nvSpPr>
        <p:spPr>
          <a:xfrm>
            <a:off x="1936367" y="3922712"/>
            <a:ext cx="32923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Sold as a case of 10 individual consumer packs which double as a storage bag to help prolong the life of the product. </a:t>
            </a:r>
          </a:p>
        </p:txBody>
      </p:sp>
    </p:spTree>
    <p:extLst>
      <p:ext uri="{BB962C8B-B14F-4D97-AF65-F5344CB8AC3E}">
        <p14:creationId xmlns:p14="http://schemas.microsoft.com/office/powerpoint/2010/main" val="2991446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C05F912-1CF8-44A1-A099-C39DB072E8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rget Aud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B1E2DD-124D-4C8D-9A33-514A6ED9C781}"/>
              </a:ext>
            </a:extLst>
          </p:cNvPr>
          <p:cNvSpPr txBox="1"/>
          <p:nvPr/>
        </p:nvSpPr>
        <p:spPr>
          <a:xfrm>
            <a:off x="5352005" y="1063261"/>
            <a:ext cx="5812381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dirty="0">
                <a:latin typeface="+mj-lt"/>
                <a:cs typeface="3M Circular TT Light" panose="020B0404020101020102" pitchFamily="34" charset="0"/>
              </a:rPr>
              <a:t>Small-to-medium sized enterpr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Companies without a dedicated Health &amp; Safety Manager where the owner is purchasing respirators for up to approximately 10 employees, often including themsel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Typically have a lower compliance level than larger organisations – market growth opportun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Work in a wide range of industries including construction, maintenance &amp; repair, metal work and transportation.</a:t>
            </a:r>
          </a:p>
        </p:txBody>
      </p:sp>
      <p:pic>
        <p:nvPicPr>
          <p:cNvPr id="11" name="Graphic 10" descr="Store outline">
            <a:extLst>
              <a:ext uri="{FF2B5EF4-FFF2-40B4-BE49-F238E27FC236}">
                <a16:creationId xmlns:a16="http://schemas.microsoft.com/office/drawing/2014/main" id="{620325C9-3AD1-4DDF-9441-8AFCE15938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77950" y="4061118"/>
            <a:ext cx="1804080" cy="1804080"/>
          </a:xfrm>
          <a:prstGeom prst="rect">
            <a:avLst/>
          </a:prstGeom>
        </p:spPr>
      </p:pic>
      <p:pic>
        <p:nvPicPr>
          <p:cNvPr id="13" name="Graphic 12" descr="Ecommerce outline">
            <a:extLst>
              <a:ext uri="{FF2B5EF4-FFF2-40B4-BE49-F238E27FC236}">
                <a16:creationId xmlns:a16="http://schemas.microsoft.com/office/drawing/2014/main" id="{04500899-20D3-4C82-A1F4-144E44DC11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58765" y="4083088"/>
            <a:ext cx="1615760" cy="1615760"/>
          </a:xfrm>
          <a:prstGeom prst="rect">
            <a:avLst/>
          </a:prstGeom>
        </p:spPr>
      </p:pic>
      <p:pic>
        <p:nvPicPr>
          <p:cNvPr id="15" name="Graphic 14" descr="Call center with solid fill">
            <a:extLst>
              <a:ext uri="{FF2B5EF4-FFF2-40B4-BE49-F238E27FC236}">
                <a16:creationId xmlns:a16="http://schemas.microsoft.com/office/drawing/2014/main" id="{9BE0DF8E-CC66-4280-9BF9-53C9C394208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85455" y="4197148"/>
            <a:ext cx="1532019" cy="153201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FABA797-76FD-41ED-9D1D-BF684D0603D1}"/>
              </a:ext>
            </a:extLst>
          </p:cNvPr>
          <p:cNvSpPr txBox="1"/>
          <p:nvPr/>
        </p:nvSpPr>
        <p:spPr>
          <a:xfrm>
            <a:off x="461847" y="4083088"/>
            <a:ext cx="581238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This programme aims to access the target audience via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449046-B49B-46E0-BB04-912B9F8E4886}"/>
              </a:ext>
            </a:extLst>
          </p:cNvPr>
          <p:cNvSpPr txBox="1"/>
          <p:nvPr/>
        </p:nvSpPr>
        <p:spPr>
          <a:xfrm>
            <a:off x="5781140" y="5735297"/>
            <a:ext cx="11710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cs typeface="3M Circular TT Light" panose="020B0404020101020102" pitchFamily="34" charset="0"/>
              </a:rPr>
              <a:t>eCommer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69FC40-A765-4DF2-99CE-3AE404E44CEB}"/>
              </a:ext>
            </a:extLst>
          </p:cNvPr>
          <p:cNvSpPr txBox="1"/>
          <p:nvPr/>
        </p:nvSpPr>
        <p:spPr>
          <a:xfrm>
            <a:off x="8094485" y="5744603"/>
            <a:ext cx="11710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>
                <a:cs typeface="3M Circular TT Light" panose="020B0404020101020102" pitchFamily="34" charset="0"/>
              </a:rPr>
              <a:t>Trade shop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AD7DD96-8567-49B6-993C-46C879CC27C9}"/>
              </a:ext>
            </a:extLst>
          </p:cNvPr>
          <p:cNvSpPr txBox="1"/>
          <p:nvPr/>
        </p:nvSpPr>
        <p:spPr>
          <a:xfrm>
            <a:off x="10365959" y="5729167"/>
            <a:ext cx="11710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>
                <a:cs typeface="3M Circular TT Light" panose="020B0404020101020102" pitchFamily="34" charset="0"/>
              </a:rPr>
              <a:t>Inside Sal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59D324-9327-4992-AD88-D6C2B007377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9269" b="43348"/>
          <a:stretch/>
        </p:blipFill>
        <p:spPr>
          <a:xfrm>
            <a:off x="461847" y="1046275"/>
            <a:ext cx="4580416" cy="2855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8213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23BF2E-8BBE-40DE-A5A9-581D1DA8D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mpaign Architecture</a:t>
            </a:r>
          </a:p>
        </p:txBody>
      </p:sp>
      <p:pic>
        <p:nvPicPr>
          <p:cNvPr id="7" name="Graphic 6" descr="Office worker male with solid fill">
            <a:extLst>
              <a:ext uri="{FF2B5EF4-FFF2-40B4-BE49-F238E27FC236}">
                <a16:creationId xmlns:a16="http://schemas.microsoft.com/office/drawing/2014/main" id="{2064ED02-4DD0-47C6-8703-7A46801AA8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01065" y="1510491"/>
            <a:ext cx="914400" cy="914400"/>
          </a:xfrm>
          <a:prstGeom prst="rect">
            <a:avLst/>
          </a:prstGeom>
        </p:spPr>
      </p:pic>
      <p:pic>
        <p:nvPicPr>
          <p:cNvPr id="9" name="Graphic 8" descr="Office worker female with solid fill">
            <a:extLst>
              <a:ext uri="{FF2B5EF4-FFF2-40B4-BE49-F238E27FC236}">
                <a16:creationId xmlns:a16="http://schemas.microsoft.com/office/drawing/2014/main" id="{9DE0108A-DDC3-4EFC-9F4E-33AF29EDA3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14510" y="1510491"/>
            <a:ext cx="914400" cy="914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8901D66-9240-4F73-B178-115068F836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9410" y="1672076"/>
            <a:ext cx="1081825" cy="591230"/>
          </a:xfrm>
          <a:prstGeom prst="rect">
            <a:avLst/>
          </a:prstGeom>
        </p:spPr>
      </p:pic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316FD30-61C0-4C8B-9145-50E7E335D7AD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1741715" y="1967691"/>
            <a:ext cx="2472795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1B3D66-6BFE-41A3-A5CD-67629A99BB0F}"/>
              </a:ext>
            </a:extLst>
          </p:cNvPr>
          <p:cNvSpPr txBox="1"/>
          <p:nvPr/>
        </p:nvSpPr>
        <p:spPr>
          <a:xfrm>
            <a:off x="1741715" y="1489031"/>
            <a:ext cx="24209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3M provides sell-in price promotion &amp; marketing asse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DF824F-B5B8-48EA-B1E5-204690794149}"/>
              </a:ext>
            </a:extLst>
          </p:cNvPr>
          <p:cNvSpPr txBox="1"/>
          <p:nvPr/>
        </p:nvSpPr>
        <p:spPr>
          <a:xfrm>
            <a:off x="4362555" y="2348961"/>
            <a:ext cx="141078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3M Channel Partner</a:t>
            </a:r>
          </a:p>
        </p:txBody>
      </p:sp>
      <p:pic>
        <p:nvPicPr>
          <p:cNvPr id="19" name="Graphic 18" descr="Construction worker male with solid fill">
            <a:extLst>
              <a:ext uri="{FF2B5EF4-FFF2-40B4-BE49-F238E27FC236}">
                <a16:creationId xmlns:a16="http://schemas.microsoft.com/office/drawing/2014/main" id="{7B609675-E970-4729-96A9-95060AFBCA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609909" y="1603838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7E8A490-6C1E-470C-B8AE-666600F2C125}"/>
              </a:ext>
            </a:extLst>
          </p:cNvPr>
          <p:cNvSpPr txBox="1"/>
          <p:nvPr/>
        </p:nvSpPr>
        <p:spPr>
          <a:xfrm>
            <a:off x="9609909" y="2459727"/>
            <a:ext cx="91440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End User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8D880DA-F805-443C-AA43-FDD222DF7A3E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5915465" y="1967691"/>
            <a:ext cx="3568169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0C4F3608-A5E2-466E-A6E8-C6637D33D67A}"/>
              </a:ext>
            </a:extLst>
          </p:cNvPr>
          <p:cNvSpPr txBox="1"/>
          <p:nvPr/>
        </p:nvSpPr>
        <p:spPr>
          <a:xfrm>
            <a:off x="5945944" y="1708382"/>
            <a:ext cx="343754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Activate marketing assets to target SMEs</a:t>
            </a:r>
          </a:p>
        </p:txBody>
      </p:sp>
      <p:pic>
        <p:nvPicPr>
          <p:cNvPr id="25" name="Graphic 24" descr="Store outline">
            <a:extLst>
              <a:ext uri="{FF2B5EF4-FFF2-40B4-BE49-F238E27FC236}">
                <a16:creationId xmlns:a16="http://schemas.microsoft.com/office/drawing/2014/main" id="{D79867E7-2E6F-4DC3-BEB5-CE8726BE4FB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90089" y="1918484"/>
            <a:ext cx="860953" cy="860953"/>
          </a:xfrm>
          <a:prstGeom prst="rect">
            <a:avLst/>
          </a:prstGeom>
        </p:spPr>
      </p:pic>
      <p:pic>
        <p:nvPicPr>
          <p:cNvPr id="26" name="Graphic 25" descr="Ecommerce outline">
            <a:extLst>
              <a:ext uri="{FF2B5EF4-FFF2-40B4-BE49-F238E27FC236}">
                <a16:creationId xmlns:a16="http://schemas.microsoft.com/office/drawing/2014/main" id="{D4D4AF9F-9AD9-4A1C-B16B-C8A31DEBFAF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73522" y="2004064"/>
            <a:ext cx="689794" cy="689794"/>
          </a:xfrm>
          <a:prstGeom prst="rect">
            <a:avLst/>
          </a:prstGeom>
        </p:spPr>
      </p:pic>
      <p:pic>
        <p:nvPicPr>
          <p:cNvPr id="27" name="Graphic 26" descr="Call center with solid fill">
            <a:extLst>
              <a:ext uri="{FF2B5EF4-FFF2-40B4-BE49-F238E27FC236}">
                <a16:creationId xmlns:a16="http://schemas.microsoft.com/office/drawing/2014/main" id="{99B45340-9F75-4339-BD61-4C65F23130E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977814" y="1999349"/>
            <a:ext cx="689795" cy="689795"/>
          </a:xfrm>
          <a:prstGeom prst="rect">
            <a:avLst/>
          </a:prstGeom>
        </p:spPr>
      </p:pic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F676250D-0D0E-4A09-B0D5-F9671F66082D}"/>
              </a:ext>
            </a:extLst>
          </p:cNvPr>
          <p:cNvCxnSpPr>
            <a:cxnSpLocks/>
          </p:cNvCxnSpPr>
          <p:nvPr/>
        </p:nvCxnSpPr>
        <p:spPr>
          <a:xfrm>
            <a:off x="1741715" y="2091072"/>
            <a:ext cx="2181880" cy="1862619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F97DDF76-99F2-4F53-99D8-E34701EC1962}"/>
              </a:ext>
            </a:extLst>
          </p:cNvPr>
          <p:cNvSpPr txBox="1"/>
          <p:nvPr/>
        </p:nvSpPr>
        <p:spPr>
          <a:xfrm>
            <a:off x="2149659" y="3105834"/>
            <a:ext cx="108182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3M hosts prize draw promotion</a:t>
            </a: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DA4E807-715E-405E-817C-2794672C1B67}"/>
              </a:ext>
            </a:extLst>
          </p:cNvPr>
          <p:cNvCxnSpPr>
            <a:cxnSpLocks/>
          </p:cNvCxnSpPr>
          <p:nvPr/>
        </p:nvCxnSpPr>
        <p:spPr>
          <a:xfrm>
            <a:off x="7216840" y="4843578"/>
            <a:ext cx="2331552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302551A2-7E51-4367-81DC-03BE2984DE02}"/>
              </a:ext>
            </a:extLst>
          </p:cNvPr>
          <p:cNvSpPr txBox="1"/>
          <p:nvPr/>
        </p:nvSpPr>
        <p:spPr>
          <a:xfrm>
            <a:off x="7213001" y="4918699"/>
            <a:ext cx="241982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Details of how to enter are included within product packaging (May to November)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3596394-F714-4EF4-BED1-C5858A3D3700}"/>
              </a:ext>
            </a:extLst>
          </p:cNvPr>
          <p:cNvSpPr txBox="1"/>
          <p:nvPr/>
        </p:nvSpPr>
        <p:spPr>
          <a:xfrm>
            <a:off x="10067109" y="2716655"/>
            <a:ext cx="1994215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AutoNum type="arabicParenBoth"/>
            </a:pPr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Purchases product</a:t>
            </a:r>
          </a:p>
          <a:p>
            <a:pPr marL="342900" indent="-342900">
              <a:buAutoNum type="arabicParenBoth"/>
            </a:pPr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Tries product</a:t>
            </a:r>
          </a:p>
          <a:p>
            <a:pPr marL="342900" indent="-342900">
              <a:buAutoNum type="arabicParenBoth"/>
            </a:pPr>
            <a:r>
              <a:rPr lang="en-GB" sz="1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Enters the prize draw online by answering a few questions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12373930-F402-40F1-AA41-EA2DC3F2B452}"/>
              </a:ext>
            </a:extLst>
          </p:cNvPr>
          <p:cNvCxnSpPr>
            <a:cxnSpLocks/>
          </p:cNvCxnSpPr>
          <p:nvPr/>
        </p:nvCxnSpPr>
        <p:spPr>
          <a:xfrm flipH="1">
            <a:off x="7185261" y="4359401"/>
            <a:ext cx="2198224" cy="0"/>
          </a:xfrm>
          <a:prstGeom prst="straightConnector1">
            <a:avLst/>
          </a:prstGeom>
          <a:ln w="2857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392A0C9-552C-4B19-97DB-AE2E6DBE38AE}"/>
              </a:ext>
            </a:extLst>
          </p:cNvPr>
          <p:cNvCxnSpPr>
            <a:cxnSpLocks/>
          </p:cNvCxnSpPr>
          <p:nvPr/>
        </p:nvCxnSpPr>
        <p:spPr>
          <a:xfrm>
            <a:off x="9997441" y="2689144"/>
            <a:ext cx="0" cy="898787"/>
          </a:xfrm>
          <a:prstGeom prst="line">
            <a:avLst/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D07857D-84DD-4C2E-B4B5-F1129745B210}"/>
              </a:ext>
            </a:extLst>
          </p:cNvPr>
          <p:cNvCxnSpPr>
            <a:cxnSpLocks/>
          </p:cNvCxnSpPr>
          <p:nvPr/>
        </p:nvCxnSpPr>
        <p:spPr>
          <a:xfrm>
            <a:off x="9997441" y="3587931"/>
            <a:ext cx="0" cy="771470"/>
          </a:xfrm>
          <a:prstGeom prst="line">
            <a:avLst/>
          </a:prstGeom>
          <a:ln w="28575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A37D8B8-B81E-4177-8E98-16EDE6EF0F37}"/>
              </a:ext>
            </a:extLst>
          </p:cNvPr>
          <p:cNvCxnSpPr>
            <a:cxnSpLocks/>
          </p:cNvCxnSpPr>
          <p:nvPr/>
        </p:nvCxnSpPr>
        <p:spPr>
          <a:xfrm>
            <a:off x="9383485" y="4359401"/>
            <a:ext cx="613956" cy="0"/>
          </a:xfrm>
          <a:prstGeom prst="line">
            <a:avLst/>
          </a:prstGeom>
          <a:ln w="28575">
            <a:solidFill>
              <a:schemeClr val="bg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2" descr="3M 4277+ Reusable Half Mask Respirator | Safety Supplies">
            <a:extLst>
              <a:ext uri="{FF2B5EF4-FFF2-40B4-BE49-F238E27FC236}">
                <a16:creationId xmlns:a16="http://schemas.microsoft.com/office/drawing/2014/main" id="{B9F905A5-FA27-46F2-9D34-B843ADB13C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7526" y="3907661"/>
            <a:ext cx="1290159" cy="1290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Graphic 66" descr="Tag outline">
            <a:extLst>
              <a:ext uri="{FF2B5EF4-FFF2-40B4-BE49-F238E27FC236}">
                <a16:creationId xmlns:a16="http://schemas.microsoft.com/office/drawing/2014/main" id="{0ED89B1B-AEFD-481B-9574-51D4126FBF3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34324" y="923161"/>
            <a:ext cx="630670" cy="630670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64F71585-1AF1-4627-8566-903A92DD10EE}"/>
              </a:ext>
            </a:extLst>
          </p:cNvPr>
          <p:cNvSpPr txBox="1"/>
          <p:nvPr/>
        </p:nvSpPr>
        <p:spPr>
          <a:xfrm>
            <a:off x="2035642" y="1207769"/>
            <a:ext cx="37493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-10%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85610F97-DA18-46B3-8016-D02D2BFA67E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508302" y="970580"/>
            <a:ext cx="887808" cy="49970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9CCD641-3DBE-4888-94F6-15789655889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033943" y="3820181"/>
            <a:ext cx="3081649" cy="2171777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D7CAF9F5-0BA5-44BB-8F90-AE258BCAB9FB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40244" y="733184"/>
            <a:ext cx="629019" cy="87534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46C4C6D-8F2B-44F9-A0AF-F7F5F69AEBC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532119" y="1047743"/>
            <a:ext cx="1117833" cy="574587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573287C-93F4-41A5-8230-1906EE8E50DB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l="2201" t="2147" r="5235" b="7575"/>
          <a:stretch/>
        </p:blipFill>
        <p:spPr>
          <a:xfrm>
            <a:off x="8754466" y="992381"/>
            <a:ext cx="629019" cy="619684"/>
          </a:xfrm>
          <a:prstGeom prst="ellipse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3056D94-83EE-4F65-AB34-D70FDA2ADEC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781510" y="922724"/>
            <a:ext cx="671998" cy="70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271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F3272-0424-4B50-8BB8-48AB28267D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ntries &amp; languages in scop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E36B6F-FFE7-45DA-817A-003EC41B57F2}"/>
              </a:ext>
            </a:extLst>
          </p:cNvPr>
          <p:cNvSpPr txBox="1"/>
          <p:nvPr/>
        </p:nvSpPr>
        <p:spPr>
          <a:xfrm>
            <a:off x="387351" y="1056675"/>
            <a:ext cx="10829289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u="sng" dirty="0">
                <a:cs typeface="3M Circular TT Light" panose="020B0404020101020102" pitchFamily="34" charset="0"/>
              </a:rPr>
              <a:t>Countries in scope</a:t>
            </a:r>
          </a:p>
          <a:p>
            <a:r>
              <a:rPr lang="en-GB" dirty="0">
                <a:cs typeface="3M Circular TT Light" panose="020B0404020101020102" pitchFamily="34" charset="0"/>
              </a:rPr>
              <a:t>End users residing in these countries are eligible for the prize draw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r>
              <a:rPr lang="en-GB" b="1" dirty="0">
                <a:cs typeface="3M Circular TT Light" panose="020B0404020101020102" pitchFamily="34" charset="0"/>
              </a:rPr>
              <a:t>Austria, Belgium, Denmark, Finland, France, Germany, Italy, Netherlands, Norway, Spain, Sweden, Switzerland, United Kingdom &amp; Ireland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endParaRPr lang="en-GB" dirty="0">
              <a:cs typeface="3M Circular TT Light" panose="020B0404020101020102" pitchFamily="34" charset="0"/>
            </a:endParaRPr>
          </a:p>
          <a:p>
            <a:endParaRPr lang="en-GB" dirty="0">
              <a:cs typeface="3M Circular TT Light" panose="020B0404020101020102" pitchFamily="34" charset="0"/>
            </a:endParaRPr>
          </a:p>
          <a:p>
            <a:endParaRPr lang="en-GB" dirty="0">
              <a:cs typeface="3M Circular TT Light" panose="020B0404020101020102" pitchFamily="34" charset="0"/>
            </a:endParaRPr>
          </a:p>
          <a:p>
            <a:r>
              <a:rPr lang="en-GB" u="sng" dirty="0">
                <a:cs typeface="3M Circular TT Light" panose="020B0404020101020102" pitchFamily="34" charset="0"/>
              </a:rPr>
              <a:t>Languages available</a:t>
            </a:r>
          </a:p>
          <a:p>
            <a:r>
              <a:rPr lang="en-GB" dirty="0">
                <a:cs typeface="3M Circular TT Light" panose="020B0404020101020102" pitchFamily="34" charset="0"/>
              </a:rPr>
              <a:t>Marketing assets are available in the following languages:</a:t>
            </a:r>
          </a:p>
          <a:p>
            <a:endParaRPr lang="en-GB" dirty="0">
              <a:cs typeface="3M Circular TT Light" panose="020B0404020101020102" pitchFamily="34" charset="0"/>
            </a:endParaRPr>
          </a:p>
          <a:p>
            <a:r>
              <a:rPr lang="en-GB" b="1" dirty="0">
                <a:cs typeface="3M Circular TT Light" panose="020B0404020101020102" pitchFamily="34" charset="0"/>
              </a:rPr>
              <a:t>English, Dutch, French, German, Italian, Spanish, Swedish</a:t>
            </a:r>
          </a:p>
          <a:p>
            <a:endParaRPr lang="en-GB" dirty="0">
              <a:cs typeface="3M Circular TT Light" panose="020B0404020101020102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12E8BFF-F961-465C-9E99-51DF89691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7752" y="0"/>
            <a:ext cx="72424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029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EA8C2-128B-4B01-972D-550EB61C8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ll-in price promo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4DDFBE-D642-44C6-8F7B-8655E8E5FF5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7351" y="3135085"/>
            <a:ext cx="11430000" cy="289024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800" b="1" dirty="0">
                <a:cs typeface="3M Circular TT Light" panose="020B0404020101020102" pitchFamily="34" charset="0"/>
              </a:rPr>
              <a:t>Terms &amp; condition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The sell-in price promotion is available on orders placed between 1</a:t>
            </a:r>
            <a:r>
              <a:rPr lang="en-GB" sz="1600" baseline="30000" dirty="0">
                <a:cs typeface="3M Circular TT Light" panose="020B0404020101020102" pitchFamily="34" charset="0"/>
              </a:rPr>
              <a:t>st</a:t>
            </a:r>
            <a:r>
              <a:rPr lang="en-GB" sz="1600" dirty="0">
                <a:cs typeface="3M Circular TT Light" panose="020B0404020101020102" pitchFamily="34" charset="0"/>
              </a:rPr>
              <a:t> June – 8</a:t>
            </a:r>
            <a:r>
              <a:rPr lang="en-GB" sz="1600" baseline="30000" dirty="0">
                <a:cs typeface="3M Circular TT Light" panose="020B0404020101020102" pitchFamily="34" charset="0"/>
              </a:rPr>
              <a:t>th</a:t>
            </a:r>
            <a:r>
              <a:rPr lang="en-GB" sz="1600" dirty="0">
                <a:cs typeface="3M Circular TT Light" panose="020B0404020101020102" pitchFamily="34" charset="0"/>
              </a:rPr>
              <a:t> July 2022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The promotion applies to standard net prices only &amp; is not available in conjunction with any existing deal prices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A maximum order volume will apply.  This will be </a:t>
            </a:r>
            <a:r>
              <a:rPr lang="en-GB" sz="1600" u="sng" dirty="0">
                <a:cs typeface="3M Circular TT Light" panose="020B0404020101020102" pitchFamily="34" charset="0"/>
              </a:rPr>
              <a:t>either</a:t>
            </a:r>
            <a:r>
              <a:rPr lang="en-GB" sz="1600" dirty="0">
                <a:cs typeface="3M Circular TT Light" panose="020B0404020101020102" pitchFamily="34" charset="0"/>
              </a:rPr>
              <a:t> 200% of the channel partner’s 2021 average monthly order volume </a:t>
            </a:r>
            <a:r>
              <a:rPr lang="en-GB" sz="1600" u="sng" dirty="0">
                <a:cs typeface="3M Circular TT Light" panose="020B0404020101020102" pitchFamily="34" charset="0"/>
              </a:rPr>
              <a:t>or</a:t>
            </a:r>
            <a:r>
              <a:rPr lang="en-GB" sz="1600" dirty="0">
                <a:cs typeface="3M Circular TT Light" panose="020B0404020101020102" pitchFamily="34" charset="0"/>
              </a:rPr>
              <a:t> 200% of the channel partner’s agreed June 2022 forecast, whichever is higher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Channel partners must opt-in to the promotion by notifying their 3M Account Manager prior to the 13</a:t>
            </a:r>
            <a:r>
              <a:rPr lang="en-GB" sz="1600" baseline="30000" dirty="0">
                <a:cs typeface="3M Circular TT Light" panose="020B0404020101020102" pitchFamily="34" charset="0"/>
              </a:rPr>
              <a:t>th</a:t>
            </a:r>
            <a:r>
              <a:rPr lang="en-GB" sz="1600" dirty="0">
                <a:cs typeface="3M Circular TT Light" panose="020B0404020101020102" pitchFamily="34" charset="0"/>
              </a:rPr>
              <a:t> April 2022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cs typeface="3M Circular TT Light" panose="020B0404020101020102" pitchFamily="34" charset="0"/>
              </a:rPr>
              <a:t>By opting into the promotion, the channel partner agrees to activate the end user prize draw promotion as described in this toolkit.</a:t>
            </a:r>
          </a:p>
        </p:txBody>
      </p:sp>
      <p:pic>
        <p:nvPicPr>
          <p:cNvPr id="4" name="Graphic 3" descr="Tag outline">
            <a:extLst>
              <a:ext uri="{FF2B5EF4-FFF2-40B4-BE49-F238E27FC236}">
                <a16:creationId xmlns:a16="http://schemas.microsoft.com/office/drawing/2014/main" id="{3B597350-796C-4F52-9D57-A99CBB2296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4323" y="923160"/>
            <a:ext cx="2180327" cy="218032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18CA83A-3A0E-4148-80F6-2BD044333C18}"/>
              </a:ext>
            </a:extLst>
          </p:cNvPr>
          <p:cNvSpPr txBox="1"/>
          <p:nvPr/>
        </p:nvSpPr>
        <p:spPr>
          <a:xfrm>
            <a:off x="2693480" y="1976973"/>
            <a:ext cx="74640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400" dirty="0">
                <a:latin typeface="3M Circular TT Light" panose="020B0404020101020102" pitchFamily="34" charset="0"/>
                <a:cs typeface="3M Circular TT Light" panose="020B0404020101020102" pitchFamily="34" charset="0"/>
              </a:rPr>
              <a:t>-10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660BA0-B9CA-4BF6-BF5D-C33D42A36385}"/>
              </a:ext>
            </a:extLst>
          </p:cNvPr>
          <p:cNvSpPr txBox="1"/>
          <p:nvPr/>
        </p:nvSpPr>
        <p:spPr>
          <a:xfrm>
            <a:off x="4075611" y="1611675"/>
            <a:ext cx="721069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000" dirty="0"/>
              <a:t>Channel Partners participating in the programme qualify for a sell-in price promotion of -10% on standard net price.</a:t>
            </a:r>
          </a:p>
        </p:txBody>
      </p:sp>
    </p:spTree>
    <p:extLst>
      <p:ext uri="{BB962C8B-B14F-4D97-AF65-F5344CB8AC3E}">
        <p14:creationId xmlns:p14="http://schemas.microsoft.com/office/powerpoint/2010/main" val="3041715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9FA1D8-3044-4467-BC0D-607EE0C15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motional Packs</a:t>
            </a:r>
          </a:p>
        </p:txBody>
      </p:sp>
      <p:pic>
        <p:nvPicPr>
          <p:cNvPr id="4" name="Picture 2" descr="3M 4277+ Reusable Half Mask Respirator | Safety Supplies">
            <a:extLst>
              <a:ext uri="{FF2B5EF4-FFF2-40B4-BE49-F238E27FC236}">
                <a16:creationId xmlns:a16="http://schemas.microsoft.com/office/drawing/2014/main" id="{7DFA1687-16EB-4B1A-892D-9E69FE211F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030" y="636124"/>
            <a:ext cx="2372497" cy="237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AA9779C2-C415-4020-BBE9-0F2D28716D8F}"/>
              </a:ext>
            </a:extLst>
          </p:cNvPr>
          <p:cNvSpPr/>
          <p:nvPr/>
        </p:nvSpPr>
        <p:spPr>
          <a:xfrm rot="20077471">
            <a:off x="4118792" y="1983668"/>
            <a:ext cx="2192909" cy="581297"/>
          </a:xfrm>
          <a:prstGeom prst="rightArrow">
            <a:avLst/>
          </a:prstGeom>
          <a:gradFill flip="none" rotWithShape="1">
            <a:gsLst>
              <a:gs pos="47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GB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94B766-DE38-4611-ADE2-66CDAD7F64DA}"/>
              </a:ext>
            </a:extLst>
          </p:cNvPr>
          <p:cNvSpPr txBox="1"/>
          <p:nvPr/>
        </p:nvSpPr>
        <p:spPr>
          <a:xfrm>
            <a:off x="4441371" y="3544787"/>
            <a:ext cx="7278617" cy="2492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A double-sided promotional flyer will be included in the consumer pack level from late May until November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The precise timing will depend upon the demand for the product &amp; will be closely monitored.  If you would like to check the status before placing an order please check with your 3M Account Manag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The 3M SAP &amp; legacy SKU numbers will be unchanged during the promo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cs typeface="3M Circular TT Light" panose="020B0404020101020102" pitchFamily="34" charset="0"/>
              </a:rPr>
              <a:t>The flyer includes some English &amp; some local language text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295110-EE38-44D4-A40F-06C25A1431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012" y="896439"/>
            <a:ext cx="3542639" cy="25022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F6AC073-9D99-4172-A416-2A3A522FEF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012" y="3459326"/>
            <a:ext cx="3560468" cy="249299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2429872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150209_3M_PPTTemplate_v7">
  <a:themeElements>
    <a:clrScheme name="TRIFECTA 06 LtBlue_Blue_DkBlue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003CE6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SIBG PPT Template_Main 4-2-19.potx" id="{E1B22867-DEE5-4527-89E0-1D554884A162}" vid="{7B59D029-F58C-4B39-B94E-2851090362EC}"/>
    </a:ext>
  </a:extLst>
</a:theme>
</file>

<file path=ppt/theme/theme2.xml><?xml version="1.0" encoding="utf-8"?>
<a:theme xmlns:a="http://schemas.openxmlformats.org/drawingml/2006/main" name="3M_PPTtemplate_v6">
  <a:themeElements>
    <a:clrScheme name="TRIFECTA 06 LtBlue_Blue_DkBlue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003CE6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_Theme_v6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_color_theme_selected" id="{319211EE-7B7A-CD41-B63E-6ED89D6BDC7E}" vid="{5479D88D-EF75-7244-B6F1-8EBDD394FE5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d74fb7d-098e-483d-a699-ce466ec1eb05">
      <UserInfo>
        <DisplayName>Jennifer Such</DisplayName>
        <AccountId>9</AccountId>
        <AccountType/>
      </UserInfo>
    </SharedWithUsers>
    <Date xmlns="e8856d16-ad03-471c-9da4-328c7a6fd24f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02A6170CC46149B54D41C833DEAFEF" ma:contentTypeVersion="14" ma:contentTypeDescription="Create a new document." ma:contentTypeScope="" ma:versionID="c540f12705f1705b65ec1df612b7ed97">
  <xsd:schema xmlns:xsd="http://www.w3.org/2001/XMLSchema" xmlns:xs="http://www.w3.org/2001/XMLSchema" xmlns:p="http://schemas.microsoft.com/office/2006/metadata/properties" xmlns:ns2="e8856d16-ad03-471c-9da4-328c7a6fd24f" xmlns:ns3="6d74fb7d-098e-483d-a699-ce466ec1eb05" targetNamespace="http://schemas.microsoft.com/office/2006/metadata/properties" ma:root="true" ma:fieldsID="1dd4df4bf0316e98fa722cee0b0ea59b" ns2:_="" ns3:_="">
    <xsd:import namespace="e8856d16-ad03-471c-9da4-328c7a6fd24f"/>
    <xsd:import namespace="6d74fb7d-098e-483d-a699-ce466ec1eb0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856d16-ad03-471c-9da4-328c7a6fd2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Date" ma:index="21" nillable="true" ma:displayName="Date " ma:format="DateOnly" ma:internalName="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4fb7d-098e-483d-a699-ce466ec1eb0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C547F6-940A-4660-AD4D-576467E2EDAD}">
  <ds:schemaRefs>
    <ds:schemaRef ds:uri="http://purl.org/dc/elements/1.1/"/>
    <ds:schemaRef ds:uri="http://schemas.microsoft.com/office/2006/metadata/properties"/>
    <ds:schemaRef ds:uri="6d74fb7d-098e-483d-a699-ce466ec1eb0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8856d16-ad03-471c-9da4-328c7a6fd24f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FE46B90-D6D1-4CFC-87E1-EA935AC261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856d16-ad03-471c-9da4-328c7a6fd24f"/>
    <ds:schemaRef ds:uri="6d74fb7d-098e-483d-a699-ce466ec1eb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143CAB5-48B4-478D-9749-1EE7DBC47ED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08</TotalTime>
  <Words>1774</Words>
  <Application>Microsoft Office PowerPoint</Application>
  <PresentationFormat>Widescreen</PresentationFormat>
  <Paragraphs>229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3M Circular TT Bold</vt:lpstr>
      <vt:lpstr>3M Circular TT Book</vt:lpstr>
      <vt:lpstr>3M Circular TT Light</vt:lpstr>
      <vt:lpstr>Arial</vt:lpstr>
      <vt:lpstr>Calibri</vt:lpstr>
      <vt:lpstr>Wingdings</vt:lpstr>
      <vt:lpstr>1_150209_3M_PPTTemplate_v7</vt:lpstr>
      <vt:lpstr>3M_PPTtemplate_v6</vt:lpstr>
      <vt:lpstr>Document</vt:lpstr>
      <vt:lpstr>think-cell Slide</vt:lpstr>
      <vt:lpstr>4000+ Reboot &amp; Win</vt:lpstr>
      <vt:lpstr>4000+ Reboot &amp; Win</vt:lpstr>
      <vt:lpstr>Benefits of activating this programme</vt:lpstr>
      <vt:lpstr>What makes the 4000+ better than other solutions? </vt:lpstr>
      <vt:lpstr>Target Audience</vt:lpstr>
      <vt:lpstr>Campaign Architecture</vt:lpstr>
      <vt:lpstr>Countries &amp; languages in scope</vt:lpstr>
      <vt:lpstr>Sell-in price promotion</vt:lpstr>
      <vt:lpstr>Promotional Packs</vt:lpstr>
      <vt:lpstr>Prize Draw</vt:lpstr>
      <vt:lpstr>PowerPoint Presentation</vt:lpstr>
      <vt:lpstr>Promotional leaflet</vt:lpstr>
      <vt:lpstr>Print Advert</vt:lpstr>
      <vt:lpstr>Web banners (250 x 250, 600 x 300, 1200 X 600) </vt:lpstr>
      <vt:lpstr>Email Asset Pack </vt:lpstr>
      <vt:lpstr>Social Media Asset Pack </vt:lpstr>
      <vt:lpstr>Product Sticker</vt:lpstr>
      <vt:lpstr>Shelf barker</vt:lpstr>
      <vt:lpstr>Inside Sales Call Script</vt:lpstr>
      <vt:lpstr>Localised Assets</vt:lpstr>
      <vt:lpstr>PowerPoint Presentation</vt:lpstr>
      <vt:lpstr>Thank you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o are Sales Guides meant for?</dc:title>
  <dc:creator>Peter Fridh</dc:creator>
  <cp:lastModifiedBy>Lorna Mould</cp:lastModifiedBy>
  <cp:revision>451</cp:revision>
  <cp:lastPrinted>2020-10-02T09:12:22Z</cp:lastPrinted>
  <dcterms:created xsi:type="dcterms:W3CDTF">2020-05-17T05:04:39Z</dcterms:created>
  <dcterms:modified xsi:type="dcterms:W3CDTF">2022-04-25T11:0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02A6170CC46149B54D41C833DEAFEF</vt:lpwstr>
  </property>
</Properties>
</file>